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529" r:id="rId5"/>
    <p:sldId id="1303" r:id="rId6"/>
    <p:sldId id="1295" r:id="rId7"/>
    <p:sldId id="1296" r:id="rId8"/>
    <p:sldId id="1298" r:id="rId9"/>
    <p:sldId id="1299" r:id="rId10"/>
    <p:sldId id="1300" r:id="rId11"/>
    <p:sldId id="1301" r:id="rId12"/>
    <p:sldId id="1316" r:id="rId13"/>
    <p:sldId id="1302" r:id="rId14"/>
    <p:sldId id="1315" r:id="rId15"/>
    <p:sldId id="1314" r:id="rId16"/>
    <p:sldId id="1305" r:id="rId17"/>
    <p:sldId id="1304" r:id="rId18"/>
    <p:sldId id="1306" r:id="rId19"/>
    <p:sldId id="1308" r:id="rId20"/>
    <p:sldId id="1309" r:id="rId21"/>
    <p:sldId id="1310" r:id="rId22"/>
    <p:sldId id="1311" r:id="rId23"/>
    <p:sldId id="1312" r:id="rId24"/>
    <p:sldId id="1313" r:id="rId25"/>
  </p:sldIdLst>
  <p:sldSz cx="12192000" cy="6858000"/>
  <p:notesSz cx="6858000" cy="9144000"/>
  <p:custDataLst>
    <p:tags r:id="rId2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812"/>
    <p:restoredTop sz="94384" autoAdjust="0"/>
  </p:normalViewPr>
  <p:slideViewPr>
    <p:cSldViewPr snapToGrid="0">
      <p:cViewPr varScale="1">
        <p:scale>
          <a:sx n="128" d="100"/>
          <a:sy n="128" d="100"/>
        </p:scale>
        <p:origin x="208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D041B0C8-6A50-4DCF-8680-F0A7CE5E77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B5D2C1-2708-47D3-83B9-28647B15DD4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72C7F1-E65A-496F-A819-20E0C4BBE68D}" type="datetimeFigureOut">
              <a:rPr lang="fr-FR" smtClean="0"/>
              <a:t>15/12/2020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EBF669A-7BE6-4DB3-8D45-C35C1DE6ED5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56C38EA-4860-4950-BB01-65ED116F5C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54EA6B-F95A-4B6A-8B7E-2DA3BA32258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3000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DDF576-2F4C-4729-8E13-ECE024F528C5}" type="datetimeFigureOut">
              <a:rPr lang="fr-FR" smtClean="0"/>
              <a:t>15/12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641832-6FA9-41D1-96B7-44CEFCC9429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29180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RE FOND GRI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Plan de travail 1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793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09C196-D5D8-446C-B4E2-8470BA75039C}"/>
              </a:ext>
            </a:extLst>
          </p:cNvPr>
          <p:cNvSpPr/>
          <p:nvPr userDrawn="1"/>
        </p:nvSpPr>
        <p:spPr>
          <a:xfrm>
            <a:off x="0" y="5748567"/>
            <a:ext cx="12192000" cy="11094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7380D31-E501-471E-9303-6C138A5CF1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4403" y="1702469"/>
            <a:ext cx="8397088" cy="2368086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a présentation </a:t>
            </a:r>
            <a:br>
              <a:rPr lang="fr-FR"/>
            </a:br>
            <a:r>
              <a:rPr lang="fr-FR"/>
              <a:t>sur 2 lignes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A5A20C9E-4C84-4874-B3B3-D445803F99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3626" y="6243484"/>
            <a:ext cx="3932903" cy="371168"/>
          </a:xfrm>
        </p:spPr>
        <p:txBody>
          <a:bodyPr anchor="ctr">
            <a:normAutofit/>
          </a:bodyPr>
          <a:lstStyle>
            <a:lvl1pPr marL="0" indent="0" algn="l">
              <a:buNone/>
              <a:defRPr sz="120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is 0000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206950B-F1E1-4F52-9BDC-879897BC35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1491" y="6115615"/>
            <a:ext cx="1527051" cy="368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317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7CB1A93-6A80-4DB0-8BE6-DB4D10197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diapositive</a:t>
            </a:r>
            <a:br>
              <a:rPr lang="fr-FR"/>
            </a:br>
            <a:r>
              <a:rPr lang="fr-FR"/>
              <a:t>sur 2 lignes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CCBF758-5512-4909-8F28-F4F284E28B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28484" y="1700981"/>
            <a:ext cx="5292213" cy="4475982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38573B9-F601-4E1B-9182-AC602B8B2D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71305" y="1700981"/>
            <a:ext cx="5486398" cy="4475982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D23FDFA8-4A00-437F-8B2A-B2B5F1DE7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fr-FR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BC13856E-DF6A-417C-93B3-CF9771959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/>
              <a:t>p.</a:t>
            </a:r>
            <a:fld id="{B96A81EA-E9A3-4097-8A44-733FED6BDB3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0218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9752687-9CB5-47F7-AE2B-C047660BE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diapositive</a:t>
            </a:r>
            <a:br>
              <a:rPr lang="fr-FR"/>
            </a:br>
            <a:r>
              <a:rPr lang="fr-FR"/>
              <a:t>sur 2 lignes</a:t>
            </a:r>
            <a:endParaRPr lang="en-GB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A5917EA9-1D9D-403B-907C-B9E14DA35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5FCA7BB8-06FD-4E9C-A362-BEBC5C7C1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/>
              <a:t>p.</a:t>
            </a:r>
            <a:fld id="{B96A81EA-E9A3-4097-8A44-733FED6BDB3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62889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9752687-9CB5-47F7-AE2B-C047660BE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45926" y="2563761"/>
            <a:ext cx="8900148" cy="1730478"/>
          </a:xfrm>
        </p:spPr>
        <p:txBody>
          <a:bodyPr anchor="ctr">
            <a:noAutofit/>
          </a:bodyPr>
          <a:lstStyle>
            <a:lvl1pPr algn="ctr">
              <a:defRPr sz="5500" b="0"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r>
              <a:rPr lang="fr-FR"/>
              <a:t>Titre fin</a:t>
            </a:r>
            <a:endParaRPr lang="en-GB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E74A13FB-9F53-4273-B686-71DE4B707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FACB6415-F99D-44DC-9642-DD8B33DE5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/>
              <a:t>p.</a:t>
            </a:r>
            <a:fld id="{B96A81EA-E9A3-4097-8A44-733FED6BDB3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89323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5F466A7F-E35A-477C-8FE2-6F7D6B93DF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567B71A-B69E-4E06-9021-CF3A8D177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/>
              <a:t>p.</a:t>
            </a:r>
            <a:fld id="{B96A81EA-E9A3-4097-8A44-733FED6BDB3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75573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ERVE-NE PAS UTILI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D06A0F37-4ED8-4239-A198-B6659473ED4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518776" y="4358660"/>
            <a:ext cx="368300" cy="622300"/>
            <a:chOff x="10775950" y="714375"/>
            <a:chExt cx="368300" cy="622300"/>
          </a:xfrm>
        </p:grpSpPr>
        <p:sp>
          <p:nvSpPr>
            <p:cNvPr id="7" name="Freeform 1015">
              <a:extLst>
                <a:ext uri="{FF2B5EF4-FFF2-40B4-BE49-F238E27FC236}">
                  <a16:creationId xmlns:a16="http://schemas.microsoft.com/office/drawing/2014/main" id="{982A5C3E-EFF2-4F0C-96D5-51CFEBE51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1050" y="1243013"/>
              <a:ext cx="34925" cy="39688"/>
            </a:xfrm>
            <a:custGeom>
              <a:avLst/>
              <a:gdLst>
                <a:gd name="T0" fmla="*/ 22 w 22"/>
                <a:gd name="T1" fmla="*/ 12 h 25"/>
                <a:gd name="T2" fmla="*/ 22 w 22"/>
                <a:gd name="T3" fmla="*/ 12 h 25"/>
                <a:gd name="T4" fmla="*/ 22 w 22"/>
                <a:gd name="T5" fmla="*/ 17 h 25"/>
                <a:gd name="T6" fmla="*/ 20 w 22"/>
                <a:gd name="T7" fmla="*/ 21 h 25"/>
                <a:gd name="T8" fmla="*/ 16 w 22"/>
                <a:gd name="T9" fmla="*/ 23 h 25"/>
                <a:gd name="T10" fmla="*/ 12 w 22"/>
                <a:gd name="T11" fmla="*/ 25 h 25"/>
                <a:gd name="T12" fmla="*/ 12 w 22"/>
                <a:gd name="T13" fmla="*/ 25 h 25"/>
                <a:gd name="T14" fmla="*/ 6 w 22"/>
                <a:gd name="T15" fmla="*/ 23 h 25"/>
                <a:gd name="T16" fmla="*/ 4 w 22"/>
                <a:gd name="T17" fmla="*/ 21 h 25"/>
                <a:gd name="T18" fmla="*/ 0 w 22"/>
                <a:gd name="T19" fmla="*/ 17 h 25"/>
                <a:gd name="T20" fmla="*/ 0 w 22"/>
                <a:gd name="T21" fmla="*/ 12 h 25"/>
                <a:gd name="T22" fmla="*/ 0 w 22"/>
                <a:gd name="T23" fmla="*/ 12 h 25"/>
                <a:gd name="T24" fmla="*/ 0 w 22"/>
                <a:gd name="T25" fmla="*/ 8 h 25"/>
                <a:gd name="T26" fmla="*/ 4 w 22"/>
                <a:gd name="T27" fmla="*/ 4 h 25"/>
                <a:gd name="T28" fmla="*/ 6 w 22"/>
                <a:gd name="T29" fmla="*/ 2 h 25"/>
                <a:gd name="T30" fmla="*/ 12 w 22"/>
                <a:gd name="T31" fmla="*/ 0 h 25"/>
                <a:gd name="T32" fmla="*/ 12 w 22"/>
                <a:gd name="T33" fmla="*/ 0 h 25"/>
                <a:gd name="T34" fmla="*/ 16 w 22"/>
                <a:gd name="T35" fmla="*/ 2 h 25"/>
                <a:gd name="T36" fmla="*/ 20 w 22"/>
                <a:gd name="T37" fmla="*/ 4 h 25"/>
                <a:gd name="T38" fmla="*/ 22 w 22"/>
                <a:gd name="T39" fmla="*/ 8 h 25"/>
                <a:gd name="T40" fmla="*/ 22 w 22"/>
                <a:gd name="T41" fmla="*/ 12 h 25"/>
                <a:gd name="T42" fmla="*/ 22 w 22"/>
                <a:gd name="T4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5">
                  <a:moveTo>
                    <a:pt x="22" y="12"/>
                  </a:moveTo>
                  <a:lnTo>
                    <a:pt x="22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6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4"/>
                  </a:lnTo>
                  <a:lnTo>
                    <a:pt x="6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2" y="12"/>
                  </a:lnTo>
                  <a:lnTo>
                    <a:pt x="22" y="12"/>
                  </a:lnTo>
                  <a:close/>
                </a:path>
              </a:pathLst>
            </a:custGeom>
            <a:noFill/>
            <a:ln w="9525">
              <a:solidFill>
                <a:schemeClr val="bg2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Line 1016">
              <a:extLst>
                <a:ext uri="{FF2B5EF4-FFF2-40B4-BE49-F238E27FC236}">
                  <a16:creationId xmlns:a16="http://schemas.microsoft.com/office/drawing/2014/main" id="{74F9AF66-D12F-4B53-8D12-E2FDC993CA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2000" y="768350"/>
              <a:ext cx="73025" cy="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014">
              <a:extLst>
                <a:ext uri="{FF2B5EF4-FFF2-40B4-BE49-F238E27FC236}">
                  <a16:creationId xmlns:a16="http://schemas.microsoft.com/office/drawing/2014/main" id="{95C98316-3D4C-4691-88D2-B3236CDA4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5950" y="714375"/>
              <a:ext cx="368300" cy="622300"/>
            </a:xfrm>
            <a:custGeom>
              <a:avLst/>
              <a:gdLst>
                <a:gd name="T0" fmla="*/ 214 w 232"/>
                <a:gd name="T1" fmla="*/ 392 h 392"/>
                <a:gd name="T2" fmla="*/ 16 w 232"/>
                <a:gd name="T3" fmla="*/ 392 h 392"/>
                <a:gd name="T4" fmla="*/ 16 w 232"/>
                <a:gd name="T5" fmla="*/ 392 h 392"/>
                <a:gd name="T6" fmla="*/ 10 w 232"/>
                <a:gd name="T7" fmla="*/ 390 h 392"/>
                <a:gd name="T8" fmla="*/ 4 w 232"/>
                <a:gd name="T9" fmla="*/ 386 h 392"/>
                <a:gd name="T10" fmla="*/ 2 w 232"/>
                <a:gd name="T11" fmla="*/ 380 h 392"/>
                <a:gd name="T12" fmla="*/ 0 w 232"/>
                <a:gd name="T13" fmla="*/ 374 h 392"/>
                <a:gd name="T14" fmla="*/ 0 w 232"/>
                <a:gd name="T15" fmla="*/ 18 h 392"/>
                <a:gd name="T16" fmla="*/ 0 w 232"/>
                <a:gd name="T17" fmla="*/ 18 h 392"/>
                <a:gd name="T18" fmla="*/ 2 w 232"/>
                <a:gd name="T19" fmla="*/ 10 h 392"/>
                <a:gd name="T20" fmla="*/ 4 w 232"/>
                <a:gd name="T21" fmla="*/ 6 h 392"/>
                <a:gd name="T22" fmla="*/ 10 w 232"/>
                <a:gd name="T23" fmla="*/ 2 h 392"/>
                <a:gd name="T24" fmla="*/ 16 w 232"/>
                <a:gd name="T25" fmla="*/ 0 h 392"/>
                <a:gd name="T26" fmla="*/ 214 w 232"/>
                <a:gd name="T27" fmla="*/ 0 h 392"/>
                <a:gd name="T28" fmla="*/ 214 w 232"/>
                <a:gd name="T29" fmla="*/ 0 h 392"/>
                <a:gd name="T30" fmla="*/ 220 w 232"/>
                <a:gd name="T31" fmla="*/ 2 h 392"/>
                <a:gd name="T32" fmla="*/ 226 w 232"/>
                <a:gd name="T33" fmla="*/ 6 h 392"/>
                <a:gd name="T34" fmla="*/ 230 w 232"/>
                <a:gd name="T35" fmla="*/ 10 h 392"/>
                <a:gd name="T36" fmla="*/ 232 w 232"/>
                <a:gd name="T37" fmla="*/ 18 h 392"/>
                <a:gd name="T38" fmla="*/ 232 w 232"/>
                <a:gd name="T39" fmla="*/ 374 h 392"/>
                <a:gd name="T40" fmla="*/ 232 w 232"/>
                <a:gd name="T41" fmla="*/ 374 h 392"/>
                <a:gd name="T42" fmla="*/ 230 w 232"/>
                <a:gd name="T43" fmla="*/ 380 h 392"/>
                <a:gd name="T44" fmla="*/ 226 w 232"/>
                <a:gd name="T45" fmla="*/ 386 h 392"/>
                <a:gd name="T46" fmla="*/ 220 w 232"/>
                <a:gd name="T47" fmla="*/ 390 h 392"/>
                <a:gd name="T48" fmla="*/ 214 w 232"/>
                <a:gd name="T49" fmla="*/ 392 h 392"/>
                <a:gd name="T50" fmla="*/ 214 w 232"/>
                <a:gd name="T51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2" h="392">
                  <a:moveTo>
                    <a:pt x="214" y="392"/>
                  </a:moveTo>
                  <a:lnTo>
                    <a:pt x="16" y="392"/>
                  </a:lnTo>
                  <a:lnTo>
                    <a:pt x="16" y="392"/>
                  </a:lnTo>
                  <a:lnTo>
                    <a:pt x="10" y="390"/>
                  </a:lnTo>
                  <a:lnTo>
                    <a:pt x="4" y="386"/>
                  </a:lnTo>
                  <a:lnTo>
                    <a:pt x="2" y="380"/>
                  </a:lnTo>
                  <a:lnTo>
                    <a:pt x="0" y="37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10"/>
                  </a:lnTo>
                  <a:lnTo>
                    <a:pt x="4" y="6"/>
                  </a:lnTo>
                  <a:lnTo>
                    <a:pt x="10" y="2"/>
                  </a:lnTo>
                  <a:lnTo>
                    <a:pt x="16" y="0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20" y="2"/>
                  </a:lnTo>
                  <a:lnTo>
                    <a:pt x="226" y="6"/>
                  </a:lnTo>
                  <a:lnTo>
                    <a:pt x="230" y="10"/>
                  </a:lnTo>
                  <a:lnTo>
                    <a:pt x="232" y="18"/>
                  </a:lnTo>
                  <a:lnTo>
                    <a:pt x="232" y="374"/>
                  </a:lnTo>
                  <a:lnTo>
                    <a:pt x="232" y="374"/>
                  </a:lnTo>
                  <a:lnTo>
                    <a:pt x="230" y="380"/>
                  </a:lnTo>
                  <a:lnTo>
                    <a:pt x="226" y="386"/>
                  </a:lnTo>
                  <a:lnTo>
                    <a:pt x="220" y="390"/>
                  </a:lnTo>
                  <a:lnTo>
                    <a:pt x="214" y="392"/>
                  </a:lnTo>
                  <a:lnTo>
                    <a:pt x="214" y="392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2A46756-3812-48E4-8847-BFE27A0723A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180142" y="2100284"/>
            <a:ext cx="622300" cy="622300"/>
            <a:chOff x="10336213" y="3746500"/>
            <a:chExt cx="622300" cy="622300"/>
          </a:xfrm>
        </p:grpSpPr>
        <p:sp>
          <p:nvSpPr>
            <p:cNvPr id="11" name="Freeform 1020">
              <a:extLst>
                <a:ext uri="{FF2B5EF4-FFF2-40B4-BE49-F238E27FC236}">
                  <a16:creationId xmlns:a16="http://schemas.microsoft.com/office/drawing/2014/main" id="{E082A188-C5FB-429A-8F67-5F71FD9A9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213" y="3746500"/>
              <a:ext cx="622300" cy="622300"/>
            </a:xfrm>
            <a:custGeom>
              <a:avLst/>
              <a:gdLst>
                <a:gd name="T0" fmla="*/ 392 w 392"/>
                <a:gd name="T1" fmla="*/ 196 h 392"/>
                <a:gd name="T2" fmla="*/ 388 w 392"/>
                <a:gd name="T3" fmla="*/ 234 h 392"/>
                <a:gd name="T4" fmla="*/ 376 w 392"/>
                <a:gd name="T5" fmla="*/ 271 h 392"/>
                <a:gd name="T6" fmla="*/ 358 w 392"/>
                <a:gd name="T7" fmla="*/ 305 h 392"/>
                <a:gd name="T8" fmla="*/ 333 w 392"/>
                <a:gd name="T9" fmla="*/ 333 h 392"/>
                <a:gd name="T10" fmla="*/ 305 w 392"/>
                <a:gd name="T11" fmla="*/ 358 h 392"/>
                <a:gd name="T12" fmla="*/ 271 w 392"/>
                <a:gd name="T13" fmla="*/ 376 h 392"/>
                <a:gd name="T14" fmla="*/ 234 w 392"/>
                <a:gd name="T15" fmla="*/ 388 h 392"/>
                <a:gd name="T16" fmla="*/ 196 w 392"/>
                <a:gd name="T17" fmla="*/ 392 h 392"/>
                <a:gd name="T18" fmla="*/ 176 w 392"/>
                <a:gd name="T19" fmla="*/ 390 h 392"/>
                <a:gd name="T20" fmla="*/ 137 w 392"/>
                <a:gd name="T21" fmla="*/ 382 h 392"/>
                <a:gd name="T22" fmla="*/ 103 w 392"/>
                <a:gd name="T23" fmla="*/ 368 h 392"/>
                <a:gd name="T24" fmla="*/ 71 w 392"/>
                <a:gd name="T25" fmla="*/ 345 h 392"/>
                <a:gd name="T26" fmla="*/ 45 w 392"/>
                <a:gd name="T27" fmla="*/ 319 h 392"/>
                <a:gd name="T28" fmla="*/ 24 w 392"/>
                <a:gd name="T29" fmla="*/ 289 h 392"/>
                <a:gd name="T30" fmla="*/ 10 w 392"/>
                <a:gd name="T31" fmla="*/ 255 h 392"/>
                <a:gd name="T32" fmla="*/ 2 w 392"/>
                <a:gd name="T33" fmla="*/ 216 h 392"/>
                <a:gd name="T34" fmla="*/ 0 w 392"/>
                <a:gd name="T35" fmla="*/ 196 h 392"/>
                <a:gd name="T36" fmla="*/ 4 w 392"/>
                <a:gd name="T37" fmla="*/ 156 h 392"/>
                <a:gd name="T38" fmla="*/ 16 w 392"/>
                <a:gd name="T39" fmla="*/ 119 h 392"/>
                <a:gd name="T40" fmla="*/ 34 w 392"/>
                <a:gd name="T41" fmla="*/ 87 h 392"/>
                <a:gd name="T42" fmla="*/ 57 w 392"/>
                <a:gd name="T43" fmla="*/ 57 h 392"/>
                <a:gd name="T44" fmla="*/ 87 w 392"/>
                <a:gd name="T45" fmla="*/ 34 h 392"/>
                <a:gd name="T46" fmla="*/ 119 w 392"/>
                <a:gd name="T47" fmla="*/ 16 h 392"/>
                <a:gd name="T48" fmla="*/ 156 w 392"/>
                <a:gd name="T49" fmla="*/ 4 h 392"/>
                <a:gd name="T50" fmla="*/ 196 w 392"/>
                <a:gd name="T51" fmla="*/ 0 h 392"/>
                <a:gd name="T52" fmla="*/ 216 w 392"/>
                <a:gd name="T53" fmla="*/ 2 h 392"/>
                <a:gd name="T54" fmla="*/ 255 w 392"/>
                <a:gd name="T55" fmla="*/ 8 h 392"/>
                <a:gd name="T56" fmla="*/ 289 w 392"/>
                <a:gd name="T57" fmla="*/ 24 h 392"/>
                <a:gd name="T58" fmla="*/ 319 w 392"/>
                <a:gd name="T59" fmla="*/ 45 h 392"/>
                <a:gd name="T60" fmla="*/ 345 w 392"/>
                <a:gd name="T61" fmla="*/ 71 h 392"/>
                <a:gd name="T62" fmla="*/ 368 w 392"/>
                <a:gd name="T63" fmla="*/ 103 h 392"/>
                <a:gd name="T64" fmla="*/ 382 w 392"/>
                <a:gd name="T65" fmla="*/ 137 h 392"/>
                <a:gd name="T66" fmla="*/ 390 w 392"/>
                <a:gd name="T67" fmla="*/ 176 h 392"/>
                <a:gd name="T68" fmla="*/ 392 w 392"/>
                <a:gd name="T69" fmla="*/ 196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2" h="392">
                  <a:moveTo>
                    <a:pt x="392" y="196"/>
                  </a:moveTo>
                  <a:lnTo>
                    <a:pt x="392" y="196"/>
                  </a:lnTo>
                  <a:lnTo>
                    <a:pt x="390" y="216"/>
                  </a:lnTo>
                  <a:lnTo>
                    <a:pt x="388" y="234"/>
                  </a:lnTo>
                  <a:lnTo>
                    <a:pt x="382" y="255"/>
                  </a:lnTo>
                  <a:lnTo>
                    <a:pt x="376" y="271"/>
                  </a:lnTo>
                  <a:lnTo>
                    <a:pt x="368" y="289"/>
                  </a:lnTo>
                  <a:lnTo>
                    <a:pt x="358" y="305"/>
                  </a:lnTo>
                  <a:lnTo>
                    <a:pt x="345" y="319"/>
                  </a:lnTo>
                  <a:lnTo>
                    <a:pt x="333" y="333"/>
                  </a:lnTo>
                  <a:lnTo>
                    <a:pt x="319" y="345"/>
                  </a:lnTo>
                  <a:lnTo>
                    <a:pt x="305" y="358"/>
                  </a:lnTo>
                  <a:lnTo>
                    <a:pt x="289" y="368"/>
                  </a:lnTo>
                  <a:lnTo>
                    <a:pt x="271" y="376"/>
                  </a:lnTo>
                  <a:lnTo>
                    <a:pt x="255" y="382"/>
                  </a:lnTo>
                  <a:lnTo>
                    <a:pt x="234" y="388"/>
                  </a:lnTo>
                  <a:lnTo>
                    <a:pt x="216" y="390"/>
                  </a:lnTo>
                  <a:lnTo>
                    <a:pt x="196" y="392"/>
                  </a:lnTo>
                  <a:lnTo>
                    <a:pt x="196" y="392"/>
                  </a:lnTo>
                  <a:lnTo>
                    <a:pt x="176" y="390"/>
                  </a:lnTo>
                  <a:lnTo>
                    <a:pt x="156" y="388"/>
                  </a:lnTo>
                  <a:lnTo>
                    <a:pt x="137" y="382"/>
                  </a:lnTo>
                  <a:lnTo>
                    <a:pt x="119" y="376"/>
                  </a:lnTo>
                  <a:lnTo>
                    <a:pt x="103" y="368"/>
                  </a:lnTo>
                  <a:lnTo>
                    <a:pt x="87" y="358"/>
                  </a:lnTo>
                  <a:lnTo>
                    <a:pt x="71" y="345"/>
                  </a:lnTo>
                  <a:lnTo>
                    <a:pt x="57" y="333"/>
                  </a:lnTo>
                  <a:lnTo>
                    <a:pt x="45" y="319"/>
                  </a:lnTo>
                  <a:lnTo>
                    <a:pt x="34" y="305"/>
                  </a:lnTo>
                  <a:lnTo>
                    <a:pt x="24" y="289"/>
                  </a:lnTo>
                  <a:lnTo>
                    <a:pt x="16" y="271"/>
                  </a:lnTo>
                  <a:lnTo>
                    <a:pt x="10" y="255"/>
                  </a:lnTo>
                  <a:lnTo>
                    <a:pt x="4" y="234"/>
                  </a:lnTo>
                  <a:lnTo>
                    <a:pt x="2" y="216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2" y="176"/>
                  </a:lnTo>
                  <a:lnTo>
                    <a:pt x="4" y="156"/>
                  </a:lnTo>
                  <a:lnTo>
                    <a:pt x="10" y="137"/>
                  </a:lnTo>
                  <a:lnTo>
                    <a:pt x="16" y="119"/>
                  </a:lnTo>
                  <a:lnTo>
                    <a:pt x="24" y="103"/>
                  </a:lnTo>
                  <a:lnTo>
                    <a:pt x="34" y="87"/>
                  </a:lnTo>
                  <a:lnTo>
                    <a:pt x="45" y="71"/>
                  </a:lnTo>
                  <a:lnTo>
                    <a:pt x="57" y="57"/>
                  </a:lnTo>
                  <a:lnTo>
                    <a:pt x="71" y="45"/>
                  </a:lnTo>
                  <a:lnTo>
                    <a:pt x="87" y="34"/>
                  </a:lnTo>
                  <a:lnTo>
                    <a:pt x="103" y="24"/>
                  </a:lnTo>
                  <a:lnTo>
                    <a:pt x="119" y="16"/>
                  </a:lnTo>
                  <a:lnTo>
                    <a:pt x="137" y="8"/>
                  </a:lnTo>
                  <a:lnTo>
                    <a:pt x="156" y="4"/>
                  </a:lnTo>
                  <a:lnTo>
                    <a:pt x="176" y="2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216" y="2"/>
                  </a:lnTo>
                  <a:lnTo>
                    <a:pt x="234" y="4"/>
                  </a:lnTo>
                  <a:lnTo>
                    <a:pt x="255" y="8"/>
                  </a:lnTo>
                  <a:lnTo>
                    <a:pt x="271" y="16"/>
                  </a:lnTo>
                  <a:lnTo>
                    <a:pt x="289" y="24"/>
                  </a:lnTo>
                  <a:lnTo>
                    <a:pt x="305" y="34"/>
                  </a:lnTo>
                  <a:lnTo>
                    <a:pt x="319" y="45"/>
                  </a:lnTo>
                  <a:lnTo>
                    <a:pt x="333" y="57"/>
                  </a:lnTo>
                  <a:lnTo>
                    <a:pt x="345" y="71"/>
                  </a:lnTo>
                  <a:lnTo>
                    <a:pt x="358" y="87"/>
                  </a:lnTo>
                  <a:lnTo>
                    <a:pt x="368" y="103"/>
                  </a:lnTo>
                  <a:lnTo>
                    <a:pt x="376" y="119"/>
                  </a:lnTo>
                  <a:lnTo>
                    <a:pt x="382" y="137"/>
                  </a:lnTo>
                  <a:lnTo>
                    <a:pt x="388" y="156"/>
                  </a:lnTo>
                  <a:lnTo>
                    <a:pt x="390" y="176"/>
                  </a:lnTo>
                  <a:lnTo>
                    <a:pt x="392" y="196"/>
                  </a:lnTo>
                  <a:lnTo>
                    <a:pt x="392" y="196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021">
              <a:extLst>
                <a:ext uri="{FF2B5EF4-FFF2-40B4-BE49-F238E27FC236}">
                  <a16:creationId xmlns:a16="http://schemas.microsoft.com/office/drawing/2014/main" id="{B5685D48-0A31-49D9-A811-035F11117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8776" y="3963988"/>
              <a:ext cx="273050" cy="184150"/>
            </a:xfrm>
            <a:custGeom>
              <a:avLst/>
              <a:gdLst>
                <a:gd name="T0" fmla="*/ 0 w 172"/>
                <a:gd name="T1" fmla="*/ 59 h 116"/>
                <a:gd name="T2" fmla="*/ 57 w 172"/>
                <a:gd name="T3" fmla="*/ 116 h 116"/>
                <a:gd name="T4" fmla="*/ 172 w 172"/>
                <a:gd name="T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2" h="116">
                  <a:moveTo>
                    <a:pt x="0" y="59"/>
                  </a:moveTo>
                  <a:lnTo>
                    <a:pt x="57" y="116"/>
                  </a:lnTo>
                  <a:lnTo>
                    <a:pt x="172" y="0"/>
                  </a:lnTo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AB7763F-0EF4-4D1A-94FD-1A0460D040D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81922" y="2006621"/>
            <a:ext cx="619126" cy="622301"/>
            <a:chOff x="9647238" y="3394075"/>
            <a:chExt cx="619126" cy="622301"/>
          </a:xfrm>
        </p:grpSpPr>
        <p:sp>
          <p:nvSpPr>
            <p:cNvPr id="14" name="Freeform 1025">
              <a:extLst>
                <a:ext uri="{FF2B5EF4-FFF2-40B4-BE49-F238E27FC236}">
                  <a16:creationId xmlns:a16="http://schemas.microsoft.com/office/drawing/2014/main" id="{F871FC6F-AFDA-4EC5-8BE4-BF71025C1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7238" y="3595688"/>
              <a:ext cx="217488" cy="219075"/>
            </a:xfrm>
            <a:custGeom>
              <a:avLst/>
              <a:gdLst>
                <a:gd name="T0" fmla="*/ 137 w 137"/>
                <a:gd name="T1" fmla="*/ 69 h 138"/>
                <a:gd name="T2" fmla="*/ 137 w 137"/>
                <a:gd name="T3" fmla="*/ 69 h 138"/>
                <a:gd name="T4" fmla="*/ 137 w 137"/>
                <a:gd name="T5" fmla="*/ 83 h 138"/>
                <a:gd name="T6" fmla="*/ 133 w 137"/>
                <a:gd name="T7" fmla="*/ 95 h 138"/>
                <a:gd name="T8" fmla="*/ 125 w 137"/>
                <a:gd name="T9" fmla="*/ 107 h 138"/>
                <a:gd name="T10" fmla="*/ 117 w 137"/>
                <a:gd name="T11" fmla="*/ 117 h 138"/>
                <a:gd name="T12" fmla="*/ 107 w 137"/>
                <a:gd name="T13" fmla="*/ 126 h 138"/>
                <a:gd name="T14" fmla="*/ 95 w 137"/>
                <a:gd name="T15" fmla="*/ 132 h 138"/>
                <a:gd name="T16" fmla="*/ 83 w 137"/>
                <a:gd name="T17" fmla="*/ 136 h 138"/>
                <a:gd name="T18" fmla="*/ 69 w 137"/>
                <a:gd name="T19" fmla="*/ 138 h 138"/>
                <a:gd name="T20" fmla="*/ 69 w 137"/>
                <a:gd name="T21" fmla="*/ 138 h 138"/>
                <a:gd name="T22" fmla="*/ 55 w 137"/>
                <a:gd name="T23" fmla="*/ 136 h 138"/>
                <a:gd name="T24" fmla="*/ 42 w 137"/>
                <a:gd name="T25" fmla="*/ 132 h 138"/>
                <a:gd name="T26" fmla="*/ 30 w 137"/>
                <a:gd name="T27" fmla="*/ 126 h 138"/>
                <a:gd name="T28" fmla="*/ 20 w 137"/>
                <a:gd name="T29" fmla="*/ 117 h 138"/>
                <a:gd name="T30" fmla="*/ 12 w 137"/>
                <a:gd name="T31" fmla="*/ 107 h 138"/>
                <a:gd name="T32" fmla="*/ 6 w 137"/>
                <a:gd name="T33" fmla="*/ 95 h 138"/>
                <a:gd name="T34" fmla="*/ 2 w 137"/>
                <a:gd name="T35" fmla="*/ 83 h 138"/>
                <a:gd name="T36" fmla="*/ 0 w 137"/>
                <a:gd name="T37" fmla="*/ 69 h 138"/>
                <a:gd name="T38" fmla="*/ 0 w 137"/>
                <a:gd name="T39" fmla="*/ 69 h 138"/>
                <a:gd name="T40" fmla="*/ 2 w 137"/>
                <a:gd name="T41" fmla="*/ 55 h 138"/>
                <a:gd name="T42" fmla="*/ 6 w 137"/>
                <a:gd name="T43" fmla="*/ 43 h 138"/>
                <a:gd name="T44" fmla="*/ 12 w 137"/>
                <a:gd name="T45" fmla="*/ 31 h 138"/>
                <a:gd name="T46" fmla="*/ 20 w 137"/>
                <a:gd name="T47" fmla="*/ 21 h 138"/>
                <a:gd name="T48" fmla="*/ 30 w 137"/>
                <a:gd name="T49" fmla="*/ 12 h 138"/>
                <a:gd name="T50" fmla="*/ 42 w 137"/>
                <a:gd name="T51" fmla="*/ 4 h 138"/>
                <a:gd name="T52" fmla="*/ 55 w 137"/>
                <a:gd name="T53" fmla="*/ 0 h 138"/>
                <a:gd name="T54" fmla="*/ 69 w 137"/>
                <a:gd name="T55" fmla="*/ 0 h 138"/>
                <a:gd name="T56" fmla="*/ 69 w 137"/>
                <a:gd name="T57" fmla="*/ 0 h 138"/>
                <a:gd name="T58" fmla="*/ 83 w 137"/>
                <a:gd name="T59" fmla="*/ 0 h 138"/>
                <a:gd name="T60" fmla="*/ 95 w 137"/>
                <a:gd name="T61" fmla="*/ 4 h 138"/>
                <a:gd name="T62" fmla="*/ 107 w 137"/>
                <a:gd name="T63" fmla="*/ 12 h 138"/>
                <a:gd name="T64" fmla="*/ 117 w 137"/>
                <a:gd name="T65" fmla="*/ 21 h 138"/>
                <a:gd name="T66" fmla="*/ 125 w 137"/>
                <a:gd name="T67" fmla="*/ 31 h 138"/>
                <a:gd name="T68" fmla="*/ 133 w 137"/>
                <a:gd name="T69" fmla="*/ 43 h 138"/>
                <a:gd name="T70" fmla="*/ 137 w 137"/>
                <a:gd name="T71" fmla="*/ 55 h 138"/>
                <a:gd name="T72" fmla="*/ 137 w 137"/>
                <a:gd name="T73" fmla="*/ 69 h 138"/>
                <a:gd name="T74" fmla="*/ 137 w 137"/>
                <a:gd name="T75" fmla="*/ 6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7" h="138">
                  <a:moveTo>
                    <a:pt x="137" y="69"/>
                  </a:moveTo>
                  <a:lnTo>
                    <a:pt x="137" y="69"/>
                  </a:lnTo>
                  <a:lnTo>
                    <a:pt x="137" y="83"/>
                  </a:lnTo>
                  <a:lnTo>
                    <a:pt x="133" y="95"/>
                  </a:lnTo>
                  <a:lnTo>
                    <a:pt x="125" y="107"/>
                  </a:lnTo>
                  <a:lnTo>
                    <a:pt x="117" y="117"/>
                  </a:lnTo>
                  <a:lnTo>
                    <a:pt x="107" y="126"/>
                  </a:lnTo>
                  <a:lnTo>
                    <a:pt x="95" y="132"/>
                  </a:lnTo>
                  <a:lnTo>
                    <a:pt x="83" y="136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55" y="136"/>
                  </a:lnTo>
                  <a:lnTo>
                    <a:pt x="42" y="132"/>
                  </a:lnTo>
                  <a:lnTo>
                    <a:pt x="30" y="126"/>
                  </a:lnTo>
                  <a:lnTo>
                    <a:pt x="20" y="117"/>
                  </a:lnTo>
                  <a:lnTo>
                    <a:pt x="12" y="107"/>
                  </a:lnTo>
                  <a:lnTo>
                    <a:pt x="6" y="95"/>
                  </a:lnTo>
                  <a:lnTo>
                    <a:pt x="2" y="83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2" y="55"/>
                  </a:lnTo>
                  <a:lnTo>
                    <a:pt x="6" y="43"/>
                  </a:lnTo>
                  <a:lnTo>
                    <a:pt x="12" y="31"/>
                  </a:lnTo>
                  <a:lnTo>
                    <a:pt x="20" y="21"/>
                  </a:lnTo>
                  <a:lnTo>
                    <a:pt x="30" y="12"/>
                  </a:lnTo>
                  <a:lnTo>
                    <a:pt x="42" y="4"/>
                  </a:lnTo>
                  <a:lnTo>
                    <a:pt x="55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83" y="0"/>
                  </a:lnTo>
                  <a:lnTo>
                    <a:pt x="95" y="4"/>
                  </a:lnTo>
                  <a:lnTo>
                    <a:pt x="107" y="12"/>
                  </a:lnTo>
                  <a:lnTo>
                    <a:pt x="117" y="21"/>
                  </a:lnTo>
                  <a:lnTo>
                    <a:pt x="125" y="31"/>
                  </a:lnTo>
                  <a:lnTo>
                    <a:pt x="133" y="43"/>
                  </a:lnTo>
                  <a:lnTo>
                    <a:pt x="137" y="55"/>
                  </a:lnTo>
                  <a:lnTo>
                    <a:pt x="137" y="69"/>
                  </a:lnTo>
                  <a:lnTo>
                    <a:pt x="137" y="69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26">
              <a:extLst>
                <a:ext uri="{FF2B5EF4-FFF2-40B4-BE49-F238E27FC236}">
                  <a16:creationId xmlns:a16="http://schemas.microsoft.com/office/drawing/2014/main" id="{C5FE49A5-2FC8-4CEE-9D97-5F5E958C0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8876" y="3394075"/>
              <a:ext cx="217488" cy="217488"/>
            </a:xfrm>
            <a:custGeom>
              <a:avLst/>
              <a:gdLst>
                <a:gd name="T0" fmla="*/ 137 w 137"/>
                <a:gd name="T1" fmla="*/ 69 h 137"/>
                <a:gd name="T2" fmla="*/ 137 w 137"/>
                <a:gd name="T3" fmla="*/ 69 h 137"/>
                <a:gd name="T4" fmla="*/ 137 w 137"/>
                <a:gd name="T5" fmla="*/ 83 h 137"/>
                <a:gd name="T6" fmla="*/ 133 w 137"/>
                <a:gd name="T7" fmla="*/ 97 h 137"/>
                <a:gd name="T8" fmla="*/ 127 w 137"/>
                <a:gd name="T9" fmla="*/ 107 h 137"/>
                <a:gd name="T10" fmla="*/ 117 w 137"/>
                <a:gd name="T11" fmla="*/ 117 h 137"/>
                <a:gd name="T12" fmla="*/ 107 w 137"/>
                <a:gd name="T13" fmla="*/ 127 h 137"/>
                <a:gd name="T14" fmla="*/ 97 w 137"/>
                <a:gd name="T15" fmla="*/ 133 h 137"/>
                <a:gd name="T16" fmla="*/ 82 w 137"/>
                <a:gd name="T17" fmla="*/ 137 h 137"/>
                <a:gd name="T18" fmla="*/ 68 w 137"/>
                <a:gd name="T19" fmla="*/ 137 h 137"/>
                <a:gd name="T20" fmla="*/ 68 w 137"/>
                <a:gd name="T21" fmla="*/ 137 h 137"/>
                <a:gd name="T22" fmla="*/ 54 w 137"/>
                <a:gd name="T23" fmla="*/ 137 h 137"/>
                <a:gd name="T24" fmla="*/ 42 w 137"/>
                <a:gd name="T25" fmla="*/ 133 h 137"/>
                <a:gd name="T26" fmla="*/ 30 w 137"/>
                <a:gd name="T27" fmla="*/ 127 h 137"/>
                <a:gd name="T28" fmla="*/ 20 w 137"/>
                <a:gd name="T29" fmla="*/ 117 h 137"/>
                <a:gd name="T30" fmla="*/ 12 w 137"/>
                <a:gd name="T31" fmla="*/ 107 h 137"/>
                <a:gd name="T32" fmla="*/ 6 w 137"/>
                <a:gd name="T33" fmla="*/ 97 h 137"/>
                <a:gd name="T34" fmla="*/ 2 w 137"/>
                <a:gd name="T35" fmla="*/ 83 h 137"/>
                <a:gd name="T36" fmla="*/ 0 w 137"/>
                <a:gd name="T37" fmla="*/ 69 h 137"/>
                <a:gd name="T38" fmla="*/ 0 w 137"/>
                <a:gd name="T39" fmla="*/ 69 h 137"/>
                <a:gd name="T40" fmla="*/ 2 w 137"/>
                <a:gd name="T41" fmla="*/ 55 h 137"/>
                <a:gd name="T42" fmla="*/ 6 w 137"/>
                <a:gd name="T43" fmla="*/ 42 h 137"/>
                <a:gd name="T44" fmla="*/ 12 w 137"/>
                <a:gd name="T45" fmla="*/ 30 h 137"/>
                <a:gd name="T46" fmla="*/ 20 w 137"/>
                <a:gd name="T47" fmla="*/ 20 h 137"/>
                <a:gd name="T48" fmla="*/ 30 w 137"/>
                <a:gd name="T49" fmla="*/ 12 h 137"/>
                <a:gd name="T50" fmla="*/ 42 w 137"/>
                <a:gd name="T51" fmla="*/ 6 h 137"/>
                <a:gd name="T52" fmla="*/ 54 w 137"/>
                <a:gd name="T53" fmla="*/ 2 h 137"/>
                <a:gd name="T54" fmla="*/ 68 w 137"/>
                <a:gd name="T55" fmla="*/ 0 h 137"/>
                <a:gd name="T56" fmla="*/ 68 w 137"/>
                <a:gd name="T57" fmla="*/ 0 h 137"/>
                <a:gd name="T58" fmla="*/ 82 w 137"/>
                <a:gd name="T59" fmla="*/ 2 h 137"/>
                <a:gd name="T60" fmla="*/ 97 w 137"/>
                <a:gd name="T61" fmla="*/ 6 h 137"/>
                <a:gd name="T62" fmla="*/ 107 w 137"/>
                <a:gd name="T63" fmla="*/ 12 h 137"/>
                <a:gd name="T64" fmla="*/ 117 w 137"/>
                <a:gd name="T65" fmla="*/ 20 h 137"/>
                <a:gd name="T66" fmla="*/ 127 w 137"/>
                <a:gd name="T67" fmla="*/ 30 h 137"/>
                <a:gd name="T68" fmla="*/ 133 w 137"/>
                <a:gd name="T69" fmla="*/ 42 h 137"/>
                <a:gd name="T70" fmla="*/ 137 w 137"/>
                <a:gd name="T71" fmla="*/ 55 h 137"/>
                <a:gd name="T72" fmla="*/ 137 w 137"/>
                <a:gd name="T73" fmla="*/ 69 h 137"/>
                <a:gd name="T74" fmla="*/ 137 w 137"/>
                <a:gd name="T75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7" h="137">
                  <a:moveTo>
                    <a:pt x="137" y="69"/>
                  </a:moveTo>
                  <a:lnTo>
                    <a:pt x="137" y="69"/>
                  </a:lnTo>
                  <a:lnTo>
                    <a:pt x="137" y="83"/>
                  </a:lnTo>
                  <a:lnTo>
                    <a:pt x="133" y="97"/>
                  </a:lnTo>
                  <a:lnTo>
                    <a:pt x="127" y="107"/>
                  </a:lnTo>
                  <a:lnTo>
                    <a:pt x="117" y="117"/>
                  </a:lnTo>
                  <a:lnTo>
                    <a:pt x="107" y="127"/>
                  </a:lnTo>
                  <a:lnTo>
                    <a:pt x="97" y="133"/>
                  </a:lnTo>
                  <a:lnTo>
                    <a:pt x="82" y="137"/>
                  </a:lnTo>
                  <a:lnTo>
                    <a:pt x="68" y="137"/>
                  </a:lnTo>
                  <a:lnTo>
                    <a:pt x="68" y="137"/>
                  </a:lnTo>
                  <a:lnTo>
                    <a:pt x="54" y="137"/>
                  </a:lnTo>
                  <a:lnTo>
                    <a:pt x="42" y="133"/>
                  </a:lnTo>
                  <a:lnTo>
                    <a:pt x="30" y="127"/>
                  </a:lnTo>
                  <a:lnTo>
                    <a:pt x="20" y="117"/>
                  </a:lnTo>
                  <a:lnTo>
                    <a:pt x="12" y="107"/>
                  </a:lnTo>
                  <a:lnTo>
                    <a:pt x="6" y="97"/>
                  </a:lnTo>
                  <a:lnTo>
                    <a:pt x="2" y="83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2" y="55"/>
                  </a:lnTo>
                  <a:lnTo>
                    <a:pt x="6" y="42"/>
                  </a:lnTo>
                  <a:lnTo>
                    <a:pt x="12" y="30"/>
                  </a:lnTo>
                  <a:lnTo>
                    <a:pt x="20" y="20"/>
                  </a:lnTo>
                  <a:lnTo>
                    <a:pt x="30" y="12"/>
                  </a:lnTo>
                  <a:lnTo>
                    <a:pt x="42" y="6"/>
                  </a:lnTo>
                  <a:lnTo>
                    <a:pt x="54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82" y="2"/>
                  </a:lnTo>
                  <a:lnTo>
                    <a:pt x="97" y="6"/>
                  </a:lnTo>
                  <a:lnTo>
                    <a:pt x="107" y="12"/>
                  </a:lnTo>
                  <a:lnTo>
                    <a:pt x="117" y="20"/>
                  </a:lnTo>
                  <a:lnTo>
                    <a:pt x="127" y="30"/>
                  </a:lnTo>
                  <a:lnTo>
                    <a:pt x="133" y="42"/>
                  </a:lnTo>
                  <a:lnTo>
                    <a:pt x="137" y="55"/>
                  </a:lnTo>
                  <a:lnTo>
                    <a:pt x="137" y="69"/>
                  </a:lnTo>
                  <a:lnTo>
                    <a:pt x="137" y="69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27">
              <a:extLst>
                <a:ext uri="{FF2B5EF4-FFF2-40B4-BE49-F238E27FC236}">
                  <a16:creationId xmlns:a16="http://schemas.microsoft.com/office/drawing/2014/main" id="{740F0C99-943C-4BDF-AAEB-E1E5B4AA5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8876" y="3795713"/>
              <a:ext cx="217488" cy="220663"/>
            </a:xfrm>
            <a:custGeom>
              <a:avLst/>
              <a:gdLst>
                <a:gd name="T0" fmla="*/ 137 w 137"/>
                <a:gd name="T1" fmla="*/ 68 h 139"/>
                <a:gd name="T2" fmla="*/ 137 w 137"/>
                <a:gd name="T3" fmla="*/ 68 h 139"/>
                <a:gd name="T4" fmla="*/ 137 w 137"/>
                <a:gd name="T5" fmla="*/ 82 h 139"/>
                <a:gd name="T6" fmla="*/ 133 w 137"/>
                <a:gd name="T7" fmla="*/ 97 h 139"/>
                <a:gd name="T8" fmla="*/ 127 w 137"/>
                <a:gd name="T9" fmla="*/ 107 h 139"/>
                <a:gd name="T10" fmla="*/ 117 w 137"/>
                <a:gd name="T11" fmla="*/ 119 h 139"/>
                <a:gd name="T12" fmla="*/ 107 w 137"/>
                <a:gd name="T13" fmla="*/ 127 h 139"/>
                <a:gd name="T14" fmla="*/ 97 w 137"/>
                <a:gd name="T15" fmla="*/ 133 h 139"/>
                <a:gd name="T16" fmla="*/ 82 w 137"/>
                <a:gd name="T17" fmla="*/ 137 h 139"/>
                <a:gd name="T18" fmla="*/ 68 w 137"/>
                <a:gd name="T19" fmla="*/ 139 h 139"/>
                <a:gd name="T20" fmla="*/ 68 w 137"/>
                <a:gd name="T21" fmla="*/ 139 h 139"/>
                <a:gd name="T22" fmla="*/ 54 w 137"/>
                <a:gd name="T23" fmla="*/ 137 h 139"/>
                <a:gd name="T24" fmla="*/ 42 w 137"/>
                <a:gd name="T25" fmla="*/ 133 h 139"/>
                <a:gd name="T26" fmla="*/ 30 w 137"/>
                <a:gd name="T27" fmla="*/ 127 h 139"/>
                <a:gd name="T28" fmla="*/ 20 w 137"/>
                <a:gd name="T29" fmla="*/ 119 h 139"/>
                <a:gd name="T30" fmla="*/ 12 w 137"/>
                <a:gd name="T31" fmla="*/ 107 h 139"/>
                <a:gd name="T32" fmla="*/ 6 w 137"/>
                <a:gd name="T33" fmla="*/ 97 h 139"/>
                <a:gd name="T34" fmla="*/ 2 w 137"/>
                <a:gd name="T35" fmla="*/ 82 h 139"/>
                <a:gd name="T36" fmla="*/ 0 w 137"/>
                <a:gd name="T37" fmla="*/ 68 h 139"/>
                <a:gd name="T38" fmla="*/ 0 w 137"/>
                <a:gd name="T39" fmla="*/ 68 h 139"/>
                <a:gd name="T40" fmla="*/ 2 w 137"/>
                <a:gd name="T41" fmla="*/ 56 h 139"/>
                <a:gd name="T42" fmla="*/ 6 w 137"/>
                <a:gd name="T43" fmla="*/ 42 h 139"/>
                <a:gd name="T44" fmla="*/ 12 w 137"/>
                <a:gd name="T45" fmla="*/ 30 h 139"/>
                <a:gd name="T46" fmla="*/ 20 w 137"/>
                <a:gd name="T47" fmla="*/ 20 h 139"/>
                <a:gd name="T48" fmla="*/ 30 w 137"/>
                <a:gd name="T49" fmla="*/ 12 h 139"/>
                <a:gd name="T50" fmla="*/ 42 w 137"/>
                <a:gd name="T51" fmla="*/ 6 h 139"/>
                <a:gd name="T52" fmla="*/ 54 w 137"/>
                <a:gd name="T53" fmla="*/ 2 h 139"/>
                <a:gd name="T54" fmla="*/ 68 w 137"/>
                <a:gd name="T55" fmla="*/ 0 h 139"/>
                <a:gd name="T56" fmla="*/ 68 w 137"/>
                <a:gd name="T57" fmla="*/ 0 h 139"/>
                <a:gd name="T58" fmla="*/ 82 w 137"/>
                <a:gd name="T59" fmla="*/ 2 h 139"/>
                <a:gd name="T60" fmla="*/ 97 w 137"/>
                <a:gd name="T61" fmla="*/ 6 h 139"/>
                <a:gd name="T62" fmla="*/ 107 w 137"/>
                <a:gd name="T63" fmla="*/ 12 h 139"/>
                <a:gd name="T64" fmla="*/ 117 w 137"/>
                <a:gd name="T65" fmla="*/ 20 h 139"/>
                <a:gd name="T66" fmla="*/ 127 w 137"/>
                <a:gd name="T67" fmla="*/ 30 h 139"/>
                <a:gd name="T68" fmla="*/ 133 w 137"/>
                <a:gd name="T69" fmla="*/ 42 h 139"/>
                <a:gd name="T70" fmla="*/ 137 w 137"/>
                <a:gd name="T71" fmla="*/ 56 h 139"/>
                <a:gd name="T72" fmla="*/ 137 w 137"/>
                <a:gd name="T73" fmla="*/ 68 h 139"/>
                <a:gd name="T74" fmla="*/ 137 w 137"/>
                <a:gd name="T75" fmla="*/ 6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7" h="139">
                  <a:moveTo>
                    <a:pt x="137" y="68"/>
                  </a:moveTo>
                  <a:lnTo>
                    <a:pt x="137" y="68"/>
                  </a:lnTo>
                  <a:lnTo>
                    <a:pt x="137" y="82"/>
                  </a:lnTo>
                  <a:lnTo>
                    <a:pt x="133" y="97"/>
                  </a:lnTo>
                  <a:lnTo>
                    <a:pt x="127" y="107"/>
                  </a:lnTo>
                  <a:lnTo>
                    <a:pt x="117" y="119"/>
                  </a:lnTo>
                  <a:lnTo>
                    <a:pt x="107" y="127"/>
                  </a:lnTo>
                  <a:lnTo>
                    <a:pt x="97" y="133"/>
                  </a:lnTo>
                  <a:lnTo>
                    <a:pt x="82" y="137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54" y="137"/>
                  </a:lnTo>
                  <a:lnTo>
                    <a:pt x="42" y="133"/>
                  </a:lnTo>
                  <a:lnTo>
                    <a:pt x="30" y="127"/>
                  </a:lnTo>
                  <a:lnTo>
                    <a:pt x="20" y="119"/>
                  </a:lnTo>
                  <a:lnTo>
                    <a:pt x="12" y="107"/>
                  </a:lnTo>
                  <a:lnTo>
                    <a:pt x="6" y="97"/>
                  </a:lnTo>
                  <a:lnTo>
                    <a:pt x="2" y="8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56"/>
                  </a:lnTo>
                  <a:lnTo>
                    <a:pt x="6" y="42"/>
                  </a:lnTo>
                  <a:lnTo>
                    <a:pt x="12" y="30"/>
                  </a:lnTo>
                  <a:lnTo>
                    <a:pt x="20" y="20"/>
                  </a:lnTo>
                  <a:lnTo>
                    <a:pt x="30" y="12"/>
                  </a:lnTo>
                  <a:lnTo>
                    <a:pt x="42" y="6"/>
                  </a:lnTo>
                  <a:lnTo>
                    <a:pt x="54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82" y="2"/>
                  </a:lnTo>
                  <a:lnTo>
                    <a:pt x="97" y="6"/>
                  </a:lnTo>
                  <a:lnTo>
                    <a:pt x="107" y="12"/>
                  </a:lnTo>
                  <a:lnTo>
                    <a:pt x="117" y="20"/>
                  </a:lnTo>
                  <a:lnTo>
                    <a:pt x="127" y="30"/>
                  </a:lnTo>
                  <a:lnTo>
                    <a:pt x="133" y="42"/>
                  </a:lnTo>
                  <a:lnTo>
                    <a:pt x="137" y="56"/>
                  </a:lnTo>
                  <a:lnTo>
                    <a:pt x="137" y="68"/>
                  </a:lnTo>
                  <a:lnTo>
                    <a:pt x="137" y="68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Line 1028">
              <a:extLst>
                <a:ext uri="{FF2B5EF4-FFF2-40B4-BE49-F238E27FC236}">
                  <a16:creationId xmlns:a16="http://schemas.microsoft.com/office/drawing/2014/main" id="{75F6C2B7-78DA-49ED-B8B5-6F80A2BB27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864726" y="3759200"/>
              <a:ext cx="184150" cy="90488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Line 1029">
              <a:extLst>
                <a:ext uri="{FF2B5EF4-FFF2-40B4-BE49-F238E27FC236}">
                  <a16:creationId xmlns:a16="http://schemas.microsoft.com/office/drawing/2014/main" id="{1565FC36-94B6-4E61-BA70-857E330804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864726" y="3557588"/>
              <a:ext cx="184150" cy="93663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AE385231-D04C-488D-A945-2BEA8B8A04A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625937" y="2004410"/>
            <a:ext cx="660400" cy="508000"/>
            <a:chOff x="10321925" y="4756150"/>
            <a:chExt cx="660400" cy="508000"/>
          </a:xfrm>
        </p:grpSpPr>
        <p:sp>
          <p:nvSpPr>
            <p:cNvPr id="20" name="Freeform 1033">
              <a:extLst>
                <a:ext uri="{FF2B5EF4-FFF2-40B4-BE49-F238E27FC236}">
                  <a16:creationId xmlns:a16="http://schemas.microsoft.com/office/drawing/2014/main" id="{6CF52D67-2DF8-4A63-B93D-19829F11A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1925" y="4756150"/>
              <a:ext cx="660400" cy="333375"/>
            </a:xfrm>
            <a:custGeom>
              <a:avLst/>
              <a:gdLst>
                <a:gd name="T0" fmla="*/ 416 w 416"/>
                <a:gd name="T1" fmla="*/ 64 h 210"/>
                <a:gd name="T2" fmla="*/ 366 w 416"/>
                <a:gd name="T3" fmla="*/ 210 h 210"/>
                <a:gd name="T4" fmla="*/ 121 w 416"/>
                <a:gd name="T5" fmla="*/ 210 h 210"/>
                <a:gd name="T6" fmla="*/ 50 w 416"/>
                <a:gd name="T7" fmla="*/ 0 h 210"/>
                <a:gd name="T8" fmla="*/ 0 w 416"/>
                <a:gd name="T9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210">
                  <a:moveTo>
                    <a:pt x="416" y="64"/>
                  </a:moveTo>
                  <a:lnTo>
                    <a:pt x="366" y="210"/>
                  </a:lnTo>
                  <a:lnTo>
                    <a:pt x="121" y="210"/>
                  </a:lnTo>
                  <a:lnTo>
                    <a:pt x="5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034">
              <a:extLst>
                <a:ext uri="{FF2B5EF4-FFF2-40B4-BE49-F238E27FC236}">
                  <a16:creationId xmlns:a16="http://schemas.microsoft.com/office/drawing/2014/main" id="{8E3984F6-5BA2-44DA-85C6-B01EB7AD0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3063" y="5156200"/>
              <a:ext cx="104775" cy="107950"/>
            </a:xfrm>
            <a:custGeom>
              <a:avLst/>
              <a:gdLst>
                <a:gd name="T0" fmla="*/ 66 w 66"/>
                <a:gd name="T1" fmla="*/ 34 h 68"/>
                <a:gd name="T2" fmla="*/ 66 w 66"/>
                <a:gd name="T3" fmla="*/ 34 h 68"/>
                <a:gd name="T4" fmla="*/ 66 w 66"/>
                <a:gd name="T5" fmla="*/ 40 h 68"/>
                <a:gd name="T6" fmla="*/ 64 w 66"/>
                <a:gd name="T7" fmla="*/ 46 h 68"/>
                <a:gd name="T8" fmla="*/ 60 w 66"/>
                <a:gd name="T9" fmla="*/ 52 h 68"/>
                <a:gd name="T10" fmla="*/ 56 w 66"/>
                <a:gd name="T11" fmla="*/ 58 h 68"/>
                <a:gd name="T12" fmla="*/ 52 w 66"/>
                <a:gd name="T13" fmla="*/ 62 h 68"/>
                <a:gd name="T14" fmla="*/ 46 w 66"/>
                <a:gd name="T15" fmla="*/ 64 h 68"/>
                <a:gd name="T16" fmla="*/ 40 w 66"/>
                <a:gd name="T17" fmla="*/ 66 h 68"/>
                <a:gd name="T18" fmla="*/ 34 w 66"/>
                <a:gd name="T19" fmla="*/ 68 h 68"/>
                <a:gd name="T20" fmla="*/ 34 w 66"/>
                <a:gd name="T21" fmla="*/ 68 h 68"/>
                <a:gd name="T22" fmla="*/ 26 w 66"/>
                <a:gd name="T23" fmla="*/ 66 h 68"/>
                <a:gd name="T24" fmla="*/ 20 w 66"/>
                <a:gd name="T25" fmla="*/ 64 h 68"/>
                <a:gd name="T26" fmla="*/ 14 w 66"/>
                <a:gd name="T27" fmla="*/ 62 h 68"/>
                <a:gd name="T28" fmla="*/ 10 w 66"/>
                <a:gd name="T29" fmla="*/ 58 h 68"/>
                <a:gd name="T30" fmla="*/ 6 w 66"/>
                <a:gd name="T31" fmla="*/ 52 h 68"/>
                <a:gd name="T32" fmla="*/ 2 w 66"/>
                <a:gd name="T33" fmla="*/ 46 h 68"/>
                <a:gd name="T34" fmla="*/ 0 w 66"/>
                <a:gd name="T35" fmla="*/ 40 h 68"/>
                <a:gd name="T36" fmla="*/ 0 w 66"/>
                <a:gd name="T37" fmla="*/ 34 h 68"/>
                <a:gd name="T38" fmla="*/ 0 w 66"/>
                <a:gd name="T39" fmla="*/ 34 h 68"/>
                <a:gd name="T40" fmla="*/ 0 w 66"/>
                <a:gd name="T41" fmla="*/ 28 h 68"/>
                <a:gd name="T42" fmla="*/ 2 w 66"/>
                <a:gd name="T43" fmla="*/ 20 h 68"/>
                <a:gd name="T44" fmla="*/ 6 w 66"/>
                <a:gd name="T45" fmla="*/ 16 h 68"/>
                <a:gd name="T46" fmla="*/ 10 w 66"/>
                <a:gd name="T47" fmla="*/ 10 h 68"/>
                <a:gd name="T48" fmla="*/ 14 w 66"/>
                <a:gd name="T49" fmla="*/ 6 h 68"/>
                <a:gd name="T50" fmla="*/ 20 w 66"/>
                <a:gd name="T51" fmla="*/ 4 h 68"/>
                <a:gd name="T52" fmla="*/ 26 w 66"/>
                <a:gd name="T53" fmla="*/ 2 h 68"/>
                <a:gd name="T54" fmla="*/ 34 w 66"/>
                <a:gd name="T55" fmla="*/ 0 h 68"/>
                <a:gd name="T56" fmla="*/ 34 w 66"/>
                <a:gd name="T57" fmla="*/ 0 h 68"/>
                <a:gd name="T58" fmla="*/ 40 w 66"/>
                <a:gd name="T59" fmla="*/ 2 h 68"/>
                <a:gd name="T60" fmla="*/ 46 w 66"/>
                <a:gd name="T61" fmla="*/ 4 h 68"/>
                <a:gd name="T62" fmla="*/ 52 w 66"/>
                <a:gd name="T63" fmla="*/ 6 h 68"/>
                <a:gd name="T64" fmla="*/ 56 w 66"/>
                <a:gd name="T65" fmla="*/ 10 h 68"/>
                <a:gd name="T66" fmla="*/ 60 w 66"/>
                <a:gd name="T67" fmla="*/ 16 h 68"/>
                <a:gd name="T68" fmla="*/ 64 w 66"/>
                <a:gd name="T69" fmla="*/ 20 h 68"/>
                <a:gd name="T70" fmla="*/ 66 w 66"/>
                <a:gd name="T71" fmla="*/ 28 h 68"/>
                <a:gd name="T72" fmla="*/ 66 w 66"/>
                <a:gd name="T73" fmla="*/ 34 h 68"/>
                <a:gd name="T74" fmla="*/ 66 w 66"/>
                <a:gd name="T75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6" h="68">
                  <a:moveTo>
                    <a:pt x="66" y="34"/>
                  </a:moveTo>
                  <a:lnTo>
                    <a:pt x="66" y="34"/>
                  </a:lnTo>
                  <a:lnTo>
                    <a:pt x="66" y="40"/>
                  </a:lnTo>
                  <a:lnTo>
                    <a:pt x="64" y="46"/>
                  </a:lnTo>
                  <a:lnTo>
                    <a:pt x="60" y="52"/>
                  </a:lnTo>
                  <a:lnTo>
                    <a:pt x="56" y="58"/>
                  </a:lnTo>
                  <a:lnTo>
                    <a:pt x="52" y="62"/>
                  </a:lnTo>
                  <a:lnTo>
                    <a:pt x="46" y="64"/>
                  </a:lnTo>
                  <a:lnTo>
                    <a:pt x="40" y="66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26" y="66"/>
                  </a:lnTo>
                  <a:lnTo>
                    <a:pt x="20" y="64"/>
                  </a:lnTo>
                  <a:lnTo>
                    <a:pt x="14" y="62"/>
                  </a:lnTo>
                  <a:lnTo>
                    <a:pt x="10" y="58"/>
                  </a:lnTo>
                  <a:lnTo>
                    <a:pt x="6" y="52"/>
                  </a:lnTo>
                  <a:lnTo>
                    <a:pt x="2" y="46"/>
                  </a:lnTo>
                  <a:lnTo>
                    <a:pt x="0" y="40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8"/>
                  </a:lnTo>
                  <a:lnTo>
                    <a:pt x="2" y="20"/>
                  </a:lnTo>
                  <a:lnTo>
                    <a:pt x="6" y="16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20" y="4"/>
                  </a:lnTo>
                  <a:lnTo>
                    <a:pt x="2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0" y="2"/>
                  </a:lnTo>
                  <a:lnTo>
                    <a:pt x="46" y="4"/>
                  </a:lnTo>
                  <a:lnTo>
                    <a:pt x="52" y="6"/>
                  </a:lnTo>
                  <a:lnTo>
                    <a:pt x="56" y="10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6" y="28"/>
                  </a:lnTo>
                  <a:lnTo>
                    <a:pt x="66" y="34"/>
                  </a:lnTo>
                  <a:lnTo>
                    <a:pt x="66" y="34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035">
              <a:extLst>
                <a:ext uri="{FF2B5EF4-FFF2-40B4-BE49-F238E27FC236}">
                  <a16:creationId xmlns:a16="http://schemas.microsoft.com/office/drawing/2014/main" id="{755633B3-5D1F-4055-B24F-BD94A65AE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1188" y="5156200"/>
              <a:ext cx="103188" cy="107950"/>
            </a:xfrm>
            <a:custGeom>
              <a:avLst/>
              <a:gdLst>
                <a:gd name="T0" fmla="*/ 65 w 65"/>
                <a:gd name="T1" fmla="*/ 34 h 68"/>
                <a:gd name="T2" fmla="*/ 65 w 65"/>
                <a:gd name="T3" fmla="*/ 34 h 68"/>
                <a:gd name="T4" fmla="*/ 65 w 65"/>
                <a:gd name="T5" fmla="*/ 40 h 68"/>
                <a:gd name="T6" fmla="*/ 63 w 65"/>
                <a:gd name="T7" fmla="*/ 46 h 68"/>
                <a:gd name="T8" fmla="*/ 59 w 65"/>
                <a:gd name="T9" fmla="*/ 52 h 68"/>
                <a:gd name="T10" fmla="*/ 55 w 65"/>
                <a:gd name="T11" fmla="*/ 58 h 68"/>
                <a:gd name="T12" fmla="*/ 51 w 65"/>
                <a:gd name="T13" fmla="*/ 62 h 68"/>
                <a:gd name="T14" fmla="*/ 45 w 65"/>
                <a:gd name="T15" fmla="*/ 64 h 68"/>
                <a:gd name="T16" fmla="*/ 39 w 65"/>
                <a:gd name="T17" fmla="*/ 66 h 68"/>
                <a:gd name="T18" fmla="*/ 32 w 65"/>
                <a:gd name="T19" fmla="*/ 68 h 68"/>
                <a:gd name="T20" fmla="*/ 32 w 65"/>
                <a:gd name="T21" fmla="*/ 68 h 68"/>
                <a:gd name="T22" fmla="*/ 26 w 65"/>
                <a:gd name="T23" fmla="*/ 66 h 68"/>
                <a:gd name="T24" fmla="*/ 20 w 65"/>
                <a:gd name="T25" fmla="*/ 64 h 68"/>
                <a:gd name="T26" fmla="*/ 14 w 65"/>
                <a:gd name="T27" fmla="*/ 62 h 68"/>
                <a:gd name="T28" fmla="*/ 10 w 65"/>
                <a:gd name="T29" fmla="*/ 58 h 68"/>
                <a:gd name="T30" fmla="*/ 6 w 65"/>
                <a:gd name="T31" fmla="*/ 52 h 68"/>
                <a:gd name="T32" fmla="*/ 2 w 65"/>
                <a:gd name="T33" fmla="*/ 46 h 68"/>
                <a:gd name="T34" fmla="*/ 0 w 65"/>
                <a:gd name="T35" fmla="*/ 40 h 68"/>
                <a:gd name="T36" fmla="*/ 0 w 65"/>
                <a:gd name="T37" fmla="*/ 34 h 68"/>
                <a:gd name="T38" fmla="*/ 0 w 65"/>
                <a:gd name="T39" fmla="*/ 34 h 68"/>
                <a:gd name="T40" fmla="*/ 0 w 65"/>
                <a:gd name="T41" fmla="*/ 28 h 68"/>
                <a:gd name="T42" fmla="*/ 2 w 65"/>
                <a:gd name="T43" fmla="*/ 20 h 68"/>
                <a:gd name="T44" fmla="*/ 6 w 65"/>
                <a:gd name="T45" fmla="*/ 16 h 68"/>
                <a:gd name="T46" fmla="*/ 10 w 65"/>
                <a:gd name="T47" fmla="*/ 10 h 68"/>
                <a:gd name="T48" fmla="*/ 14 w 65"/>
                <a:gd name="T49" fmla="*/ 6 h 68"/>
                <a:gd name="T50" fmla="*/ 20 w 65"/>
                <a:gd name="T51" fmla="*/ 4 h 68"/>
                <a:gd name="T52" fmla="*/ 26 w 65"/>
                <a:gd name="T53" fmla="*/ 2 h 68"/>
                <a:gd name="T54" fmla="*/ 32 w 65"/>
                <a:gd name="T55" fmla="*/ 0 h 68"/>
                <a:gd name="T56" fmla="*/ 32 w 65"/>
                <a:gd name="T57" fmla="*/ 0 h 68"/>
                <a:gd name="T58" fmla="*/ 39 w 65"/>
                <a:gd name="T59" fmla="*/ 2 h 68"/>
                <a:gd name="T60" fmla="*/ 45 w 65"/>
                <a:gd name="T61" fmla="*/ 4 h 68"/>
                <a:gd name="T62" fmla="*/ 51 w 65"/>
                <a:gd name="T63" fmla="*/ 6 h 68"/>
                <a:gd name="T64" fmla="*/ 55 w 65"/>
                <a:gd name="T65" fmla="*/ 10 h 68"/>
                <a:gd name="T66" fmla="*/ 59 w 65"/>
                <a:gd name="T67" fmla="*/ 16 h 68"/>
                <a:gd name="T68" fmla="*/ 63 w 65"/>
                <a:gd name="T69" fmla="*/ 20 h 68"/>
                <a:gd name="T70" fmla="*/ 65 w 65"/>
                <a:gd name="T71" fmla="*/ 28 h 68"/>
                <a:gd name="T72" fmla="*/ 65 w 65"/>
                <a:gd name="T73" fmla="*/ 34 h 68"/>
                <a:gd name="T74" fmla="*/ 65 w 65"/>
                <a:gd name="T75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" h="68">
                  <a:moveTo>
                    <a:pt x="65" y="34"/>
                  </a:moveTo>
                  <a:lnTo>
                    <a:pt x="65" y="34"/>
                  </a:lnTo>
                  <a:lnTo>
                    <a:pt x="65" y="40"/>
                  </a:lnTo>
                  <a:lnTo>
                    <a:pt x="63" y="46"/>
                  </a:lnTo>
                  <a:lnTo>
                    <a:pt x="59" y="52"/>
                  </a:lnTo>
                  <a:lnTo>
                    <a:pt x="55" y="58"/>
                  </a:lnTo>
                  <a:lnTo>
                    <a:pt x="51" y="62"/>
                  </a:lnTo>
                  <a:lnTo>
                    <a:pt x="45" y="64"/>
                  </a:lnTo>
                  <a:lnTo>
                    <a:pt x="39" y="66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6" y="66"/>
                  </a:lnTo>
                  <a:lnTo>
                    <a:pt x="20" y="64"/>
                  </a:lnTo>
                  <a:lnTo>
                    <a:pt x="14" y="62"/>
                  </a:lnTo>
                  <a:lnTo>
                    <a:pt x="10" y="58"/>
                  </a:lnTo>
                  <a:lnTo>
                    <a:pt x="6" y="52"/>
                  </a:lnTo>
                  <a:lnTo>
                    <a:pt x="2" y="46"/>
                  </a:lnTo>
                  <a:lnTo>
                    <a:pt x="0" y="40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8"/>
                  </a:lnTo>
                  <a:lnTo>
                    <a:pt x="2" y="20"/>
                  </a:lnTo>
                  <a:lnTo>
                    <a:pt x="6" y="16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20" y="4"/>
                  </a:lnTo>
                  <a:lnTo>
                    <a:pt x="26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9" y="2"/>
                  </a:lnTo>
                  <a:lnTo>
                    <a:pt x="45" y="4"/>
                  </a:lnTo>
                  <a:lnTo>
                    <a:pt x="51" y="6"/>
                  </a:lnTo>
                  <a:lnTo>
                    <a:pt x="55" y="10"/>
                  </a:lnTo>
                  <a:lnTo>
                    <a:pt x="59" y="16"/>
                  </a:lnTo>
                  <a:lnTo>
                    <a:pt x="63" y="20"/>
                  </a:lnTo>
                  <a:lnTo>
                    <a:pt x="65" y="28"/>
                  </a:lnTo>
                  <a:lnTo>
                    <a:pt x="65" y="34"/>
                  </a:lnTo>
                  <a:lnTo>
                    <a:pt x="65" y="34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C39B812A-3639-492A-8294-5415AA1DEC4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61773" y="1966310"/>
            <a:ext cx="492125" cy="546100"/>
            <a:chOff x="9994900" y="4865688"/>
            <a:chExt cx="492125" cy="546100"/>
          </a:xfrm>
        </p:grpSpPr>
        <p:sp>
          <p:nvSpPr>
            <p:cNvPr id="24" name="Freeform 1039">
              <a:extLst>
                <a:ext uri="{FF2B5EF4-FFF2-40B4-BE49-F238E27FC236}">
                  <a16:creationId xmlns:a16="http://schemas.microsoft.com/office/drawing/2014/main" id="{1445393A-C8CC-4376-AC83-906A1D615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4900" y="4865688"/>
              <a:ext cx="492125" cy="546100"/>
            </a:xfrm>
            <a:custGeom>
              <a:avLst/>
              <a:gdLst>
                <a:gd name="T0" fmla="*/ 160 w 310"/>
                <a:gd name="T1" fmla="*/ 87 h 344"/>
                <a:gd name="T2" fmla="*/ 106 w 310"/>
                <a:gd name="T3" fmla="*/ 117 h 344"/>
                <a:gd name="T4" fmla="*/ 50 w 310"/>
                <a:gd name="T5" fmla="*/ 117 h 344"/>
                <a:gd name="T6" fmla="*/ 0 w 310"/>
                <a:gd name="T7" fmla="*/ 117 h 344"/>
                <a:gd name="T8" fmla="*/ 0 w 310"/>
                <a:gd name="T9" fmla="*/ 227 h 344"/>
                <a:gd name="T10" fmla="*/ 106 w 310"/>
                <a:gd name="T11" fmla="*/ 227 h 344"/>
                <a:gd name="T12" fmla="*/ 160 w 310"/>
                <a:gd name="T13" fmla="*/ 259 h 344"/>
                <a:gd name="T14" fmla="*/ 310 w 310"/>
                <a:gd name="T15" fmla="*/ 344 h 344"/>
                <a:gd name="T16" fmla="*/ 310 w 310"/>
                <a:gd name="T17" fmla="*/ 173 h 344"/>
                <a:gd name="T18" fmla="*/ 310 w 310"/>
                <a:gd name="T19" fmla="*/ 0 h 344"/>
                <a:gd name="T20" fmla="*/ 160 w 310"/>
                <a:gd name="T21" fmla="*/ 87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0" h="344">
                  <a:moveTo>
                    <a:pt x="160" y="87"/>
                  </a:moveTo>
                  <a:lnTo>
                    <a:pt x="106" y="117"/>
                  </a:lnTo>
                  <a:lnTo>
                    <a:pt x="50" y="117"/>
                  </a:lnTo>
                  <a:lnTo>
                    <a:pt x="0" y="117"/>
                  </a:lnTo>
                  <a:lnTo>
                    <a:pt x="0" y="227"/>
                  </a:lnTo>
                  <a:lnTo>
                    <a:pt x="106" y="227"/>
                  </a:lnTo>
                  <a:lnTo>
                    <a:pt x="160" y="259"/>
                  </a:lnTo>
                  <a:lnTo>
                    <a:pt x="310" y="344"/>
                  </a:lnTo>
                  <a:lnTo>
                    <a:pt x="310" y="173"/>
                  </a:lnTo>
                  <a:lnTo>
                    <a:pt x="310" y="0"/>
                  </a:lnTo>
                  <a:lnTo>
                    <a:pt x="160" y="87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Line 1040">
              <a:extLst>
                <a:ext uri="{FF2B5EF4-FFF2-40B4-BE49-F238E27FC236}">
                  <a16:creationId xmlns:a16="http://schemas.microsoft.com/office/drawing/2014/main" id="{BCD01656-F1C3-4E84-B2A5-B9DD05EEC0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63175" y="5051426"/>
              <a:ext cx="0" cy="174625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041">
              <a:extLst>
                <a:ext uri="{FF2B5EF4-FFF2-40B4-BE49-F238E27FC236}">
                  <a16:creationId xmlns:a16="http://schemas.microsoft.com/office/drawing/2014/main" id="{17F6B79F-E846-41FE-AD2D-E1762AC65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4275" y="5226051"/>
              <a:ext cx="209550" cy="115888"/>
            </a:xfrm>
            <a:custGeom>
              <a:avLst/>
              <a:gdLst>
                <a:gd name="T0" fmla="*/ 132 w 132"/>
                <a:gd name="T1" fmla="*/ 43 h 73"/>
                <a:gd name="T2" fmla="*/ 132 w 132"/>
                <a:gd name="T3" fmla="*/ 43 h 73"/>
                <a:gd name="T4" fmla="*/ 122 w 132"/>
                <a:gd name="T5" fmla="*/ 55 h 73"/>
                <a:gd name="T6" fmla="*/ 108 w 132"/>
                <a:gd name="T7" fmla="*/ 65 h 73"/>
                <a:gd name="T8" fmla="*/ 92 w 132"/>
                <a:gd name="T9" fmla="*/ 71 h 73"/>
                <a:gd name="T10" fmla="*/ 74 w 132"/>
                <a:gd name="T11" fmla="*/ 73 h 73"/>
                <a:gd name="T12" fmla="*/ 74 w 132"/>
                <a:gd name="T13" fmla="*/ 73 h 73"/>
                <a:gd name="T14" fmla="*/ 60 w 132"/>
                <a:gd name="T15" fmla="*/ 71 h 73"/>
                <a:gd name="T16" fmla="*/ 46 w 132"/>
                <a:gd name="T17" fmla="*/ 67 h 73"/>
                <a:gd name="T18" fmla="*/ 32 w 132"/>
                <a:gd name="T19" fmla="*/ 61 h 73"/>
                <a:gd name="T20" fmla="*/ 22 w 132"/>
                <a:gd name="T21" fmla="*/ 51 h 73"/>
                <a:gd name="T22" fmla="*/ 12 w 132"/>
                <a:gd name="T23" fmla="*/ 41 h 73"/>
                <a:gd name="T24" fmla="*/ 6 w 132"/>
                <a:gd name="T25" fmla="*/ 30 h 73"/>
                <a:gd name="T26" fmla="*/ 2 w 132"/>
                <a:gd name="T27" fmla="*/ 16 h 73"/>
                <a:gd name="T28" fmla="*/ 0 w 132"/>
                <a:gd name="T2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73">
                  <a:moveTo>
                    <a:pt x="132" y="43"/>
                  </a:moveTo>
                  <a:lnTo>
                    <a:pt x="132" y="43"/>
                  </a:lnTo>
                  <a:lnTo>
                    <a:pt x="122" y="55"/>
                  </a:lnTo>
                  <a:lnTo>
                    <a:pt x="108" y="65"/>
                  </a:lnTo>
                  <a:lnTo>
                    <a:pt x="92" y="71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60" y="71"/>
                  </a:lnTo>
                  <a:lnTo>
                    <a:pt x="46" y="67"/>
                  </a:lnTo>
                  <a:lnTo>
                    <a:pt x="32" y="61"/>
                  </a:lnTo>
                  <a:lnTo>
                    <a:pt x="22" y="51"/>
                  </a:lnTo>
                  <a:lnTo>
                    <a:pt x="12" y="41"/>
                  </a:lnTo>
                  <a:lnTo>
                    <a:pt x="6" y="30"/>
                  </a:lnTo>
                  <a:lnTo>
                    <a:pt x="2" y="16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F7AB369A-817E-430D-AF99-A91A4553D1A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197131" y="1966310"/>
            <a:ext cx="609600" cy="495300"/>
            <a:chOff x="10153650" y="4830763"/>
            <a:chExt cx="609600" cy="495300"/>
          </a:xfrm>
        </p:grpSpPr>
        <p:sp>
          <p:nvSpPr>
            <p:cNvPr id="28" name="Freeform 1046">
              <a:extLst>
                <a:ext uri="{FF2B5EF4-FFF2-40B4-BE49-F238E27FC236}">
                  <a16:creationId xmlns:a16="http://schemas.microsoft.com/office/drawing/2014/main" id="{BD415477-B2BC-414E-A9C2-53F73262F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53650" y="4830763"/>
              <a:ext cx="609600" cy="247650"/>
            </a:xfrm>
            <a:custGeom>
              <a:avLst/>
              <a:gdLst>
                <a:gd name="T0" fmla="*/ 0 w 384"/>
                <a:gd name="T1" fmla="*/ 0 h 156"/>
                <a:gd name="T2" fmla="*/ 192 w 384"/>
                <a:gd name="T3" fmla="*/ 156 h 156"/>
                <a:gd name="T4" fmla="*/ 384 w 384"/>
                <a:gd name="T5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4" h="156">
                  <a:moveTo>
                    <a:pt x="0" y="0"/>
                  </a:moveTo>
                  <a:lnTo>
                    <a:pt x="192" y="156"/>
                  </a:lnTo>
                  <a:lnTo>
                    <a:pt x="384" y="0"/>
                  </a:lnTo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1045">
              <a:extLst>
                <a:ext uri="{FF2B5EF4-FFF2-40B4-BE49-F238E27FC236}">
                  <a16:creationId xmlns:a16="http://schemas.microsoft.com/office/drawing/2014/main" id="{93160F39-9EB8-4A76-9168-28C7800B0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53650" y="4830763"/>
              <a:ext cx="609600" cy="495300"/>
            </a:xfrm>
            <a:prstGeom prst="rect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D24B6594-FA3A-48F4-92A2-D4E83EEE061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70231" y="1968522"/>
            <a:ext cx="385762" cy="590550"/>
            <a:chOff x="10225088" y="4260850"/>
            <a:chExt cx="385762" cy="590550"/>
          </a:xfrm>
        </p:grpSpPr>
        <p:sp>
          <p:nvSpPr>
            <p:cNvPr id="31" name="Freeform 1050">
              <a:extLst>
                <a:ext uri="{FF2B5EF4-FFF2-40B4-BE49-F238E27FC236}">
                  <a16:creationId xmlns:a16="http://schemas.microsoft.com/office/drawing/2014/main" id="{822366E8-C091-461C-9145-BA0B2410D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0813" y="4346575"/>
              <a:ext cx="214312" cy="215900"/>
            </a:xfrm>
            <a:custGeom>
              <a:avLst/>
              <a:gdLst>
                <a:gd name="T0" fmla="*/ 135 w 135"/>
                <a:gd name="T1" fmla="*/ 68 h 136"/>
                <a:gd name="T2" fmla="*/ 135 w 135"/>
                <a:gd name="T3" fmla="*/ 68 h 136"/>
                <a:gd name="T4" fmla="*/ 133 w 135"/>
                <a:gd name="T5" fmla="*/ 82 h 136"/>
                <a:gd name="T6" fmla="*/ 129 w 135"/>
                <a:gd name="T7" fmla="*/ 94 h 136"/>
                <a:gd name="T8" fmla="*/ 123 w 135"/>
                <a:gd name="T9" fmla="*/ 106 h 136"/>
                <a:gd name="T10" fmla="*/ 115 w 135"/>
                <a:gd name="T11" fmla="*/ 116 h 136"/>
                <a:gd name="T12" fmla="*/ 105 w 135"/>
                <a:gd name="T13" fmla="*/ 124 h 136"/>
                <a:gd name="T14" fmla="*/ 93 w 135"/>
                <a:gd name="T15" fmla="*/ 130 h 136"/>
                <a:gd name="T16" fmla="*/ 81 w 135"/>
                <a:gd name="T17" fmla="*/ 134 h 136"/>
                <a:gd name="T18" fmla="*/ 68 w 135"/>
                <a:gd name="T19" fmla="*/ 136 h 136"/>
                <a:gd name="T20" fmla="*/ 68 w 135"/>
                <a:gd name="T21" fmla="*/ 136 h 136"/>
                <a:gd name="T22" fmla="*/ 54 w 135"/>
                <a:gd name="T23" fmla="*/ 134 h 136"/>
                <a:gd name="T24" fmla="*/ 42 w 135"/>
                <a:gd name="T25" fmla="*/ 130 h 136"/>
                <a:gd name="T26" fmla="*/ 30 w 135"/>
                <a:gd name="T27" fmla="*/ 124 h 136"/>
                <a:gd name="T28" fmla="*/ 20 w 135"/>
                <a:gd name="T29" fmla="*/ 116 h 136"/>
                <a:gd name="T30" fmla="*/ 12 w 135"/>
                <a:gd name="T31" fmla="*/ 106 h 136"/>
                <a:gd name="T32" fmla="*/ 6 w 135"/>
                <a:gd name="T33" fmla="*/ 94 h 136"/>
                <a:gd name="T34" fmla="*/ 2 w 135"/>
                <a:gd name="T35" fmla="*/ 82 h 136"/>
                <a:gd name="T36" fmla="*/ 0 w 135"/>
                <a:gd name="T37" fmla="*/ 68 h 136"/>
                <a:gd name="T38" fmla="*/ 0 w 135"/>
                <a:gd name="T39" fmla="*/ 68 h 136"/>
                <a:gd name="T40" fmla="*/ 2 w 135"/>
                <a:gd name="T41" fmla="*/ 54 h 136"/>
                <a:gd name="T42" fmla="*/ 6 w 135"/>
                <a:gd name="T43" fmla="*/ 42 h 136"/>
                <a:gd name="T44" fmla="*/ 12 w 135"/>
                <a:gd name="T45" fmla="*/ 30 h 136"/>
                <a:gd name="T46" fmla="*/ 20 w 135"/>
                <a:gd name="T47" fmla="*/ 20 h 136"/>
                <a:gd name="T48" fmla="*/ 30 w 135"/>
                <a:gd name="T49" fmla="*/ 12 h 136"/>
                <a:gd name="T50" fmla="*/ 42 w 135"/>
                <a:gd name="T51" fmla="*/ 6 h 136"/>
                <a:gd name="T52" fmla="*/ 54 w 135"/>
                <a:gd name="T53" fmla="*/ 2 h 136"/>
                <a:gd name="T54" fmla="*/ 68 w 135"/>
                <a:gd name="T55" fmla="*/ 0 h 136"/>
                <a:gd name="T56" fmla="*/ 68 w 135"/>
                <a:gd name="T57" fmla="*/ 0 h 136"/>
                <a:gd name="T58" fmla="*/ 81 w 135"/>
                <a:gd name="T59" fmla="*/ 2 h 136"/>
                <a:gd name="T60" fmla="*/ 93 w 135"/>
                <a:gd name="T61" fmla="*/ 6 h 136"/>
                <a:gd name="T62" fmla="*/ 105 w 135"/>
                <a:gd name="T63" fmla="*/ 12 h 136"/>
                <a:gd name="T64" fmla="*/ 115 w 135"/>
                <a:gd name="T65" fmla="*/ 20 h 136"/>
                <a:gd name="T66" fmla="*/ 123 w 135"/>
                <a:gd name="T67" fmla="*/ 30 h 136"/>
                <a:gd name="T68" fmla="*/ 129 w 135"/>
                <a:gd name="T69" fmla="*/ 42 h 136"/>
                <a:gd name="T70" fmla="*/ 133 w 135"/>
                <a:gd name="T71" fmla="*/ 54 h 136"/>
                <a:gd name="T72" fmla="*/ 135 w 135"/>
                <a:gd name="T73" fmla="*/ 68 h 136"/>
                <a:gd name="T74" fmla="*/ 135 w 135"/>
                <a:gd name="T75" fmla="*/ 6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5" h="136">
                  <a:moveTo>
                    <a:pt x="135" y="68"/>
                  </a:moveTo>
                  <a:lnTo>
                    <a:pt x="135" y="68"/>
                  </a:lnTo>
                  <a:lnTo>
                    <a:pt x="133" y="82"/>
                  </a:lnTo>
                  <a:lnTo>
                    <a:pt x="129" y="94"/>
                  </a:lnTo>
                  <a:lnTo>
                    <a:pt x="123" y="106"/>
                  </a:lnTo>
                  <a:lnTo>
                    <a:pt x="115" y="116"/>
                  </a:lnTo>
                  <a:lnTo>
                    <a:pt x="105" y="124"/>
                  </a:lnTo>
                  <a:lnTo>
                    <a:pt x="93" y="130"/>
                  </a:lnTo>
                  <a:lnTo>
                    <a:pt x="81" y="134"/>
                  </a:lnTo>
                  <a:lnTo>
                    <a:pt x="68" y="136"/>
                  </a:lnTo>
                  <a:lnTo>
                    <a:pt x="68" y="136"/>
                  </a:lnTo>
                  <a:lnTo>
                    <a:pt x="54" y="134"/>
                  </a:lnTo>
                  <a:lnTo>
                    <a:pt x="42" y="130"/>
                  </a:lnTo>
                  <a:lnTo>
                    <a:pt x="30" y="124"/>
                  </a:lnTo>
                  <a:lnTo>
                    <a:pt x="20" y="116"/>
                  </a:lnTo>
                  <a:lnTo>
                    <a:pt x="12" y="106"/>
                  </a:lnTo>
                  <a:lnTo>
                    <a:pt x="6" y="94"/>
                  </a:lnTo>
                  <a:lnTo>
                    <a:pt x="2" y="8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54"/>
                  </a:lnTo>
                  <a:lnTo>
                    <a:pt x="6" y="42"/>
                  </a:lnTo>
                  <a:lnTo>
                    <a:pt x="12" y="30"/>
                  </a:lnTo>
                  <a:lnTo>
                    <a:pt x="20" y="20"/>
                  </a:lnTo>
                  <a:lnTo>
                    <a:pt x="30" y="12"/>
                  </a:lnTo>
                  <a:lnTo>
                    <a:pt x="42" y="6"/>
                  </a:lnTo>
                  <a:lnTo>
                    <a:pt x="54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81" y="2"/>
                  </a:lnTo>
                  <a:lnTo>
                    <a:pt x="93" y="6"/>
                  </a:lnTo>
                  <a:lnTo>
                    <a:pt x="105" y="12"/>
                  </a:lnTo>
                  <a:lnTo>
                    <a:pt x="115" y="20"/>
                  </a:lnTo>
                  <a:lnTo>
                    <a:pt x="123" y="30"/>
                  </a:lnTo>
                  <a:lnTo>
                    <a:pt x="129" y="42"/>
                  </a:lnTo>
                  <a:lnTo>
                    <a:pt x="133" y="54"/>
                  </a:lnTo>
                  <a:lnTo>
                    <a:pt x="135" y="68"/>
                  </a:lnTo>
                  <a:lnTo>
                    <a:pt x="135" y="68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1051">
              <a:extLst>
                <a:ext uri="{FF2B5EF4-FFF2-40B4-BE49-F238E27FC236}">
                  <a16:creationId xmlns:a16="http://schemas.microsoft.com/office/drawing/2014/main" id="{73FC6CF7-2627-43F3-92BF-83F0FF529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5088" y="4260850"/>
              <a:ext cx="385762" cy="590550"/>
            </a:xfrm>
            <a:custGeom>
              <a:avLst/>
              <a:gdLst>
                <a:gd name="T0" fmla="*/ 122 w 243"/>
                <a:gd name="T1" fmla="*/ 0 h 372"/>
                <a:gd name="T2" fmla="*/ 122 w 243"/>
                <a:gd name="T3" fmla="*/ 0 h 372"/>
                <a:gd name="T4" fmla="*/ 110 w 243"/>
                <a:gd name="T5" fmla="*/ 0 h 372"/>
                <a:gd name="T6" fmla="*/ 98 w 243"/>
                <a:gd name="T7" fmla="*/ 2 h 372"/>
                <a:gd name="T8" fmla="*/ 86 w 243"/>
                <a:gd name="T9" fmla="*/ 6 h 372"/>
                <a:gd name="T10" fmla="*/ 74 w 243"/>
                <a:gd name="T11" fmla="*/ 10 h 372"/>
                <a:gd name="T12" fmla="*/ 54 w 243"/>
                <a:gd name="T13" fmla="*/ 20 h 372"/>
                <a:gd name="T14" fmla="*/ 36 w 243"/>
                <a:gd name="T15" fmla="*/ 36 h 372"/>
                <a:gd name="T16" fmla="*/ 20 w 243"/>
                <a:gd name="T17" fmla="*/ 54 h 372"/>
                <a:gd name="T18" fmla="*/ 8 w 243"/>
                <a:gd name="T19" fmla="*/ 74 h 372"/>
                <a:gd name="T20" fmla="*/ 4 w 243"/>
                <a:gd name="T21" fmla="*/ 86 h 372"/>
                <a:gd name="T22" fmla="*/ 2 w 243"/>
                <a:gd name="T23" fmla="*/ 98 h 372"/>
                <a:gd name="T24" fmla="*/ 0 w 243"/>
                <a:gd name="T25" fmla="*/ 110 h 372"/>
                <a:gd name="T26" fmla="*/ 0 w 243"/>
                <a:gd name="T27" fmla="*/ 122 h 372"/>
                <a:gd name="T28" fmla="*/ 0 w 243"/>
                <a:gd name="T29" fmla="*/ 122 h 372"/>
                <a:gd name="T30" fmla="*/ 0 w 243"/>
                <a:gd name="T31" fmla="*/ 146 h 372"/>
                <a:gd name="T32" fmla="*/ 4 w 243"/>
                <a:gd name="T33" fmla="*/ 168 h 372"/>
                <a:gd name="T34" fmla="*/ 10 w 243"/>
                <a:gd name="T35" fmla="*/ 192 h 372"/>
                <a:gd name="T36" fmla="*/ 18 w 243"/>
                <a:gd name="T37" fmla="*/ 214 h 372"/>
                <a:gd name="T38" fmla="*/ 28 w 243"/>
                <a:gd name="T39" fmla="*/ 234 h 372"/>
                <a:gd name="T40" fmla="*/ 38 w 243"/>
                <a:gd name="T41" fmla="*/ 256 h 372"/>
                <a:gd name="T42" fmla="*/ 60 w 243"/>
                <a:gd name="T43" fmla="*/ 294 h 372"/>
                <a:gd name="T44" fmla="*/ 84 w 243"/>
                <a:gd name="T45" fmla="*/ 326 h 372"/>
                <a:gd name="T46" fmla="*/ 102 w 243"/>
                <a:gd name="T47" fmla="*/ 350 h 372"/>
                <a:gd name="T48" fmla="*/ 122 w 243"/>
                <a:gd name="T49" fmla="*/ 372 h 372"/>
                <a:gd name="T50" fmla="*/ 122 w 243"/>
                <a:gd name="T51" fmla="*/ 372 h 372"/>
                <a:gd name="T52" fmla="*/ 141 w 243"/>
                <a:gd name="T53" fmla="*/ 350 h 372"/>
                <a:gd name="T54" fmla="*/ 159 w 243"/>
                <a:gd name="T55" fmla="*/ 326 h 372"/>
                <a:gd name="T56" fmla="*/ 183 w 243"/>
                <a:gd name="T57" fmla="*/ 294 h 372"/>
                <a:gd name="T58" fmla="*/ 205 w 243"/>
                <a:gd name="T59" fmla="*/ 256 h 372"/>
                <a:gd name="T60" fmla="*/ 215 w 243"/>
                <a:gd name="T61" fmla="*/ 234 h 372"/>
                <a:gd name="T62" fmla="*/ 225 w 243"/>
                <a:gd name="T63" fmla="*/ 214 h 372"/>
                <a:gd name="T64" fmla="*/ 233 w 243"/>
                <a:gd name="T65" fmla="*/ 192 h 372"/>
                <a:gd name="T66" fmla="*/ 239 w 243"/>
                <a:gd name="T67" fmla="*/ 168 h 372"/>
                <a:gd name="T68" fmla="*/ 243 w 243"/>
                <a:gd name="T69" fmla="*/ 146 h 372"/>
                <a:gd name="T70" fmla="*/ 243 w 243"/>
                <a:gd name="T71" fmla="*/ 122 h 372"/>
                <a:gd name="T72" fmla="*/ 243 w 243"/>
                <a:gd name="T73" fmla="*/ 122 h 372"/>
                <a:gd name="T74" fmla="*/ 243 w 243"/>
                <a:gd name="T75" fmla="*/ 110 h 372"/>
                <a:gd name="T76" fmla="*/ 241 w 243"/>
                <a:gd name="T77" fmla="*/ 98 h 372"/>
                <a:gd name="T78" fmla="*/ 239 w 243"/>
                <a:gd name="T79" fmla="*/ 86 h 372"/>
                <a:gd name="T80" fmla="*/ 235 w 243"/>
                <a:gd name="T81" fmla="*/ 74 h 372"/>
                <a:gd name="T82" fmla="*/ 223 w 243"/>
                <a:gd name="T83" fmla="*/ 54 h 372"/>
                <a:gd name="T84" fmla="*/ 207 w 243"/>
                <a:gd name="T85" fmla="*/ 36 h 372"/>
                <a:gd name="T86" fmla="*/ 189 w 243"/>
                <a:gd name="T87" fmla="*/ 20 h 372"/>
                <a:gd name="T88" fmla="*/ 169 w 243"/>
                <a:gd name="T89" fmla="*/ 10 h 372"/>
                <a:gd name="T90" fmla="*/ 157 w 243"/>
                <a:gd name="T91" fmla="*/ 6 h 372"/>
                <a:gd name="T92" fmla="*/ 145 w 243"/>
                <a:gd name="T93" fmla="*/ 2 h 372"/>
                <a:gd name="T94" fmla="*/ 133 w 243"/>
                <a:gd name="T95" fmla="*/ 0 h 372"/>
                <a:gd name="T96" fmla="*/ 122 w 243"/>
                <a:gd name="T97" fmla="*/ 0 h 372"/>
                <a:gd name="T98" fmla="*/ 122 w 243"/>
                <a:gd name="T9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3" h="372">
                  <a:moveTo>
                    <a:pt x="122" y="0"/>
                  </a:moveTo>
                  <a:lnTo>
                    <a:pt x="122" y="0"/>
                  </a:lnTo>
                  <a:lnTo>
                    <a:pt x="110" y="0"/>
                  </a:lnTo>
                  <a:lnTo>
                    <a:pt x="98" y="2"/>
                  </a:lnTo>
                  <a:lnTo>
                    <a:pt x="86" y="6"/>
                  </a:lnTo>
                  <a:lnTo>
                    <a:pt x="74" y="10"/>
                  </a:lnTo>
                  <a:lnTo>
                    <a:pt x="54" y="20"/>
                  </a:lnTo>
                  <a:lnTo>
                    <a:pt x="36" y="36"/>
                  </a:lnTo>
                  <a:lnTo>
                    <a:pt x="20" y="54"/>
                  </a:lnTo>
                  <a:lnTo>
                    <a:pt x="8" y="74"/>
                  </a:lnTo>
                  <a:lnTo>
                    <a:pt x="4" y="86"/>
                  </a:lnTo>
                  <a:lnTo>
                    <a:pt x="2" y="98"/>
                  </a:lnTo>
                  <a:lnTo>
                    <a:pt x="0" y="11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46"/>
                  </a:lnTo>
                  <a:lnTo>
                    <a:pt x="4" y="168"/>
                  </a:lnTo>
                  <a:lnTo>
                    <a:pt x="10" y="192"/>
                  </a:lnTo>
                  <a:lnTo>
                    <a:pt x="18" y="214"/>
                  </a:lnTo>
                  <a:lnTo>
                    <a:pt x="28" y="234"/>
                  </a:lnTo>
                  <a:lnTo>
                    <a:pt x="38" y="256"/>
                  </a:lnTo>
                  <a:lnTo>
                    <a:pt x="60" y="294"/>
                  </a:lnTo>
                  <a:lnTo>
                    <a:pt x="84" y="326"/>
                  </a:lnTo>
                  <a:lnTo>
                    <a:pt x="102" y="350"/>
                  </a:lnTo>
                  <a:lnTo>
                    <a:pt x="122" y="372"/>
                  </a:lnTo>
                  <a:lnTo>
                    <a:pt x="122" y="372"/>
                  </a:lnTo>
                  <a:lnTo>
                    <a:pt x="141" y="350"/>
                  </a:lnTo>
                  <a:lnTo>
                    <a:pt x="159" y="326"/>
                  </a:lnTo>
                  <a:lnTo>
                    <a:pt x="183" y="294"/>
                  </a:lnTo>
                  <a:lnTo>
                    <a:pt x="205" y="256"/>
                  </a:lnTo>
                  <a:lnTo>
                    <a:pt x="215" y="234"/>
                  </a:lnTo>
                  <a:lnTo>
                    <a:pt x="225" y="214"/>
                  </a:lnTo>
                  <a:lnTo>
                    <a:pt x="233" y="192"/>
                  </a:lnTo>
                  <a:lnTo>
                    <a:pt x="239" y="168"/>
                  </a:lnTo>
                  <a:lnTo>
                    <a:pt x="243" y="146"/>
                  </a:lnTo>
                  <a:lnTo>
                    <a:pt x="243" y="122"/>
                  </a:lnTo>
                  <a:lnTo>
                    <a:pt x="243" y="122"/>
                  </a:lnTo>
                  <a:lnTo>
                    <a:pt x="243" y="110"/>
                  </a:lnTo>
                  <a:lnTo>
                    <a:pt x="241" y="98"/>
                  </a:lnTo>
                  <a:lnTo>
                    <a:pt x="239" y="86"/>
                  </a:lnTo>
                  <a:lnTo>
                    <a:pt x="235" y="74"/>
                  </a:lnTo>
                  <a:lnTo>
                    <a:pt x="223" y="54"/>
                  </a:lnTo>
                  <a:lnTo>
                    <a:pt x="207" y="36"/>
                  </a:lnTo>
                  <a:lnTo>
                    <a:pt x="189" y="20"/>
                  </a:lnTo>
                  <a:lnTo>
                    <a:pt x="169" y="10"/>
                  </a:lnTo>
                  <a:lnTo>
                    <a:pt x="157" y="6"/>
                  </a:lnTo>
                  <a:lnTo>
                    <a:pt x="145" y="2"/>
                  </a:lnTo>
                  <a:lnTo>
                    <a:pt x="133" y="0"/>
                  </a:lnTo>
                  <a:lnTo>
                    <a:pt x="122" y="0"/>
                  </a:lnTo>
                  <a:lnTo>
                    <a:pt x="122" y="0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54F34537-3718-4685-94C2-4C0363290C6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80537" y="3260116"/>
            <a:ext cx="565150" cy="565150"/>
            <a:chOff x="9605963" y="4638675"/>
            <a:chExt cx="565150" cy="565150"/>
          </a:xfrm>
        </p:grpSpPr>
        <p:sp>
          <p:nvSpPr>
            <p:cNvPr id="34" name="Freeform 1056">
              <a:extLst>
                <a:ext uri="{FF2B5EF4-FFF2-40B4-BE49-F238E27FC236}">
                  <a16:creationId xmlns:a16="http://schemas.microsoft.com/office/drawing/2014/main" id="{94528571-703D-41AB-8C69-7396440CB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963" y="4886325"/>
              <a:ext cx="565150" cy="176213"/>
            </a:xfrm>
            <a:custGeom>
              <a:avLst/>
              <a:gdLst>
                <a:gd name="T0" fmla="*/ 0 w 356"/>
                <a:gd name="T1" fmla="*/ 111 h 111"/>
                <a:gd name="T2" fmla="*/ 99 w 356"/>
                <a:gd name="T3" fmla="*/ 0 h 111"/>
                <a:gd name="T4" fmla="*/ 222 w 356"/>
                <a:gd name="T5" fmla="*/ 111 h 111"/>
                <a:gd name="T6" fmla="*/ 289 w 356"/>
                <a:gd name="T7" fmla="*/ 54 h 111"/>
                <a:gd name="T8" fmla="*/ 356 w 356"/>
                <a:gd name="T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6" h="111">
                  <a:moveTo>
                    <a:pt x="0" y="111"/>
                  </a:moveTo>
                  <a:lnTo>
                    <a:pt x="99" y="0"/>
                  </a:lnTo>
                  <a:lnTo>
                    <a:pt x="222" y="111"/>
                  </a:lnTo>
                  <a:lnTo>
                    <a:pt x="289" y="54"/>
                  </a:lnTo>
                  <a:lnTo>
                    <a:pt x="356" y="111"/>
                  </a:lnTo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1057">
              <a:extLst>
                <a:ext uri="{FF2B5EF4-FFF2-40B4-BE49-F238E27FC236}">
                  <a16:creationId xmlns:a16="http://schemas.microsoft.com/office/drawing/2014/main" id="{3A20A737-541D-4BAA-8020-638543AFB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9338" y="4725988"/>
              <a:ext cx="141288" cy="141288"/>
            </a:xfrm>
            <a:custGeom>
              <a:avLst/>
              <a:gdLst>
                <a:gd name="T0" fmla="*/ 89 w 89"/>
                <a:gd name="T1" fmla="*/ 44 h 89"/>
                <a:gd name="T2" fmla="*/ 89 w 89"/>
                <a:gd name="T3" fmla="*/ 44 h 89"/>
                <a:gd name="T4" fmla="*/ 89 w 89"/>
                <a:gd name="T5" fmla="*/ 54 h 89"/>
                <a:gd name="T6" fmla="*/ 87 w 89"/>
                <a:gd name="T7" fmla="*/ 62 h 89"/>
                <a:gd name="T8" fmla="*/ 81 w 89"/>
                <a:gd name="T9" fmla="*/ 70 h 89"/>
                <a:gd name="T10" fmla="*/ 77 w 89"/>
                <a:gd name="T11" fmla="*/ 76 h 89"/>
                <a:gd name="T12" fmla="*/ 71 w 89"/>
                <a:gd name="T13" fmla="*/ 81 h 89"/>
                <a:gd name="T14" fmla="*/ 63 w 89"/>
                <a:gd name="T15" fmla="*/ 87 h 89"/>
                <a:gd name="T16" fmla="*/ 55 w 89"/>
                <a:gd name="T17" fmla="*/ 89 h 89"/>
                <a:gd name="T18" fmla="*/ 45 w 89"/>
                <a:gd name="T19" fmla="*/ 89 h 89"/>
                <a:gd name="T20" fmla="*/ 45 w 89"/>
                <a:gd name="T21" fmla="*/ 89 h 89"/>
                <a:gd name="T22" fmla="*/ 37 w 89"/>
                <a:gd name="T23" fmla="*/ 89 h 89"/>
                <a:gd name="T24" fmla="*/ 29 w 89"/>
                <a:gd name="T25" fmla="*/ 87 h 89"/>
                <a:gd name="T26" fmla="*/ 21 w 89"/>
                <a:gd name="T27" fmla="*/ 81 h 89"/>
                <a:gd name="T28" fmla="*/ 15 w 89"/>
                <a:gd name="T29" fmla="*/ 76 h 89"/>
                <a:gd name="T30" fmla="*/ 8 w 89"/>
                <a:gd name="T31" fmla="*/ 70 h 89"/>
                <a:gd name="T32" fmla="*/ 4 w 89"/>
                <a:gd name="T33" fmla="*/ 62 h 89"/>
                <a:gd name="T34" fmla="*/ 2 w 89"/>
                <a:gd name="T35" fmla="*/ 54 h 89"/>
                <a:gd name="T36" fmla="*/ 0 w 89"/>
                <a:gd name="T37" fmla="*/ 44 h 89"/>
                <a:gd name="T38" fmla="*/ 0 w 89"/>
                <a:gd name="T39" fmla="*/ 44 h 89"/>
                <a:gd name="T40" fmla="*/ 2 w 89"/>
                <a:gd name="T41" fmla="*/ 36 h 89"/>
                <a:gd name="T42" fmla="*/ 4 w 89"/>
                <a:gd name="T43" fmla="*/ 28 h 89"/>
                <a:gd name="T44" fmla="*/ 8 w 89"/>
                <a:gd name="T45" fmla="*/ 20 h 89"/>
                <a:gd name="T46" fmla="*/ 15 w 89"/>
                <a:gd name="T47" fmla="*/ 14 h 89"/>
                <a:gd name="T48" fmla="*/ 21 w 89"/>
                <a:gd name="T49" fmla="*/ 8 h 89"/>
                <a:gd name="T50" fmla="*/ 29 w 89"/>
                <a:gd name="T51" fmla="*/ 4 h 89"/>
                <a:gd name="T52" fmla="*/ 37 w 89"/>
                <a:gd name="T53" fmla="*/ 2 h 89"/>
                <a:gd name="T54" fmla="*/ 45 w 89"/>
                <a:gd name="T55" fmla="*/ 0 h 89"/>
                <a:gd name="T56" fmla="*/ 45 w 89"/>
                <a:gd name="T57" fmla="*/ 0 h 89"/>
                <a:gd name="T58" fmla="*/ 55 w 89"/>
                <a:gd name="T59" fmla="*/ 2 h 89"/>
                <a:gd name="T60" fmla="*/ 63 w 89"/>
                <a:gd name="T61" fmla="*/ 4 h 89"/>
                <a:gd name="T62" fmla="*/ 71 w 89"/>
                <a:gd name="T63" fmla="*/ 8 h 89"/>
                <a:gd name="T64" fmla="*/ 77 w 89"/>
                <a:gd name="T65" fmla="*/ 14 h 89"/>
                <a:gd name="T66" fmla="*/ 81 w 89"/>
                <a:gd name="T67" fmla="*/ 20 h 89"/>
                <a:gd name="T68" fmla="*/ 87 w 89"/>
                <a:gd name="T69" fmla="*/ 28 h 89"/>
                <a:gd name="T70" fmla="*/ 89 w 89"/>
                <a:gd name="T71" fmla="*/ 36 h 89"/>
                <a:gd name="T72" fmla="*/ 89 w 89"/>
                <a:gd name="T73" fmla="*/ 44 h 89"/>
                <a:gd name="T74" fmla="*/ 89 w 89"/>
                <a:gd name="T75" fmla="*/ 4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9" h="89">
                  <a:moveTo>
                    <a:pt x="89" y="44"/>
                  </a:moveTo>
                  <a:lnTo>
                    <a:pt x="89" y="44"/>
                  </a:lnTo>
                  <a:lnTo>
                    <a:pt x="89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77" y="76"/>
                  </a:lnTo>
                  <a:lnTo>
                    <a:pt x="71" y="81"/>
                  </a:lnTo>
                  <a:lnTo>
                    <a:pt x="63" y="87"/>
                  </a:lnTo>
                  <a:lnTo>
                    <a:pt x="55" y="89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37" y="89"/>
                  </a:lnTo>
                  <a:lnTo>
                    <a:pt x="29" y="87"/>
                  </a:lnTo>
                  <a:lnTo>
                    <a:pt x="21" y="81"/>
                  </a:lnTo>
                  <a:lnTo>
                    <a:pt x="15" y="76"/>
                  </a:lnTo>
                  <a:lnTo>
                    <a:pt x="8" y="70"/>
                  </a:lnTo>
                  <a:lnTo>
                    <a:pt x="4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36"/>
                  </a:lnTo>
                  <a:lnTo>
                    <a:pt x="4" y="28"/>
                  </a:lnTo>
                  <a:lnTo>
                    <a:pt x="8" y="20"/>
                  </a:lnTo>
                  <a:lnTo>
                    <a:pt x="15" y="14"/>
                  </a:lnTo>
                  <a:lnTo>
                    <a:pt x="21" y="8"/>
                  </a:lnTo>
                  <a:lnTo>
                    <a:pt x="29" y="4"/>
                  </a:lnTo>
                  <a:lnTo>
                    <a:pt x="37" y="2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55" y="2"/>
                  </a:lnTo>
                  <a:lnTo>
                    <a:pt x="63" y="4"/>
                  </a:lnTo>
                  <a:lnTo>
                    <a:pt x="71" y="8"/>
                  </a:lnTo>
                  <a:lnTo>
                    <a:pt x="77" y="14"/>
                  </a:lnTo>
                  <a:lnTo>
                    <a:pt x="81" y="20"/>
                  </a:lnTo>
                  <a:lnTo>
                    <a:pt x="87" y="28"/>
                  </a:lnTo>
                  <a:lnTo>
                    <a:pt x="89" y="36"/>
                  </a:lnTo>
                  <a:lnTo>
                    <a:pt x="89" y="44"/>
                  </a:lnTo>
                  <a:lnTo>
                    <a:pt x="89" y="44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1055">
              <a:extLst>
                <a:ext uri="{FF2B5EF4-FFF2-40B4-BE49-F238E27FC236}">
                  <a16:creationId xmlns:a16="http://schemas.microsoft.com/office/drawing/2014/main" id="{5066B986-554D-44C0-A42C-4F56B38B0B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05963" y="4638675"/>
              <a:ext cx="565150" cy="565150"/>
            </a:xfrm>
            <a:prstGeom prst="rect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8102C8EB-4336-41D4-A356-2397BD62450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159030" y="3101366"/>
            <a:ext cx="685801" cy="723900"/>
            <a:chOff x="10433050" y="4414838"/>
            <a:chExt cx="685801" cy="723900"/>
          </a:xfrm>
        </p:grpSpPr>
        <p:sp>
          <p:nvSpPr>
            <p:cNvPr id="38" name="Freeform 1061">
              <a:extLst>
                <a:ext uri="{FF2B5EF4-FFF2-40B4-BE49-F238E27FC236}">
                  <a16:creationId xmlns:a16="http://schemas.microsoft.com/office/drawing/2014/main" id="{43E213C9-EFA6-492C-B417-4CB21EC7E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913" y="4579938"/>
              <a:ext cx="346075" cy="403225"/>
            </a:xfrm>
            <a:custGeom>
              <a:avLst/>
              <a:gdLst>
                <a:gd name="T0" fmla="*/ 218 w 218"/>
                <a:gd name="T1" fmla="*/ 107 h 254"/>
                <a:gd name="T2" fmla="*/ 218 w 218"/>
                <a:gd name="T3" fmla="*/ 107 h 254"/>
                <a:gd name="T4" fmla="*/ 216 w 218"/>
                <a:gd name="T5" fmla="*/ 85 h 254"/>
                <a:gd name="T6" fmla="*/ 210 w 218"/>
                <a:gd name="T7" fmla="*/ 65 h 254"/>
                <a:gd name="T8" fmla="*/ 200 w 218"/>
                <a:gd name="T9" fmla="*/ 47 h 254"/>
                <a:gd name="T10" fmla="*/ 186 w 218"/>
                <a:gd name="T11" fmla="*/ 31 h 254"/>
                <a:gd name="T12" fmla="*/ 170 w 218"/>
                <a:gd name="T13" fmla="*/ 17 h 254"/>
                <a:gd name="T14" fmla="*/ 151 w 218"/>
                <a:gd name="T15" fmla="*/ 8 h 254"/>
                <a:gd name="T16" fmla="*/ 131 w 218"/>
                <a:gd name="T17" fmla="*/ 2 h 254"/>
                <a:gd name="T18" fmla="*/ 109 w 218"/>
                <a:gd name="T19" fmla="*/ 0 h 254"/>
                <a:gd name="T20" fmla="*/ 109 w 218"/>
                <a:gd name="T21" fmla="*/ 0 h 254"/>
                <a:gd name="T22" fmla="*/ 87 w 218"/>
                <a:gd name="T23" fmla="*/ 2 h 254"/>
                <a:gd name="T24" fmla="*/ 67 w 218"/>
                <a:gd name="T25" fmla="*/ 8 h 254"/>
                <a:gd name="T26" fmla="*/ 48 w 218"/>
                <a:gd name="T27" fmla="*/ 17 h 254"/>
                <a:gd name="T28" fmla="*/ 32 w 218"/>
                <a:gd name="T29" fmla="*/ 31 h 254"/>
                <a:gd name="T30" fmla="*/ 18 w 218"/>
                <a:gd name="T31" fmla="*/ 47 h 254"/>
                <a:gd name="T32" fmla="*/ 8 w 218"/>
                <a:gd name="T33" fmla="*/ 65 h 254"/>
                <a:gd name="T34" fmla="*/ 2 w 218"/>
                <a:gd name="T35" fmla="*/ 85 h 254"/>
                <a:gd name="T36" fmla="*/ 0 w 218"/>
                <a:gd name="T37" fmla="*/ 107 h 254"/>
                <a:gd name="T38" fmla="*/ 0 w 218"/>
                <a:gd name="T39" fmla="*/ 107 h 254"/>
                <a:gd name="T40" fmla="*/ 2 w 218"/>
                <a:gd name="T41" fmla="*/ 123 h 254"/>
                <a:gd name="T42" fmla="*/ 4 w 218"/>
                <a:gd name="T43" fmla="*/ 137 h 254"/>
                <a:gd name="T44" fmla="*/ 10 w 218"/>
                <a:gd name="T45" fmla="*/ 151 h 254"/>
                <a:gd name="T46" fmla="*/ 16 w 218"/>
                <a:gd name="T47" fmla="*/ 163 h 254"/>
                <a:gd name="T48" fmla="*/ 24 w 218"/>
                <a:gd name="T49" fmla="*/ 175 h 254"/>
                <a:gd name="T50" fmla="*/ 34 w 218"/>
                <a:gd name="T51" fmla="*/ 185 h 254"/>
                <a:gd name="T52" fmla="*/ 46 w 218"/>
                <a:gd name="T53" fmla="*/ 195 h 254"/>
                <a:gd name="T54" fmla="*/ 59 w 218"/>
                <a:gd name="T55" fmla="*/ 203 h 254"/>
                <a:gd name="T56" fmla="*/ 59 w 218"/>
                <a:gd name="T57" fmla="*/ 254 h 254"/>
                <a:gd name="T58" fmla="*/ 159 w 218"/>
                <a:gd name="T59" fmla="*/ 254 h 254"/>
                <a:gd name="T60" fmla="*/ 159 w 218"/>
                <a:gd name="T61" fmla="*/ 203 h 254"/>
                <a:gd name="T62" fmla="*/ 159 w 218"/>
                <a:gd name="T63" fmla="*/ 203 h 254"/>
                <a:gd name="T64" fmla="*/ 172 w 218"/>
                <a:gd name="T65" fmla="*/ 195 h 254"/>
                <a:gd name="T66" fmla="*/ 184 w 218"/>
                <a:gd name="T67" fmla="*/ 185 h 254"/>
                <a:gd name="T68" fmla="*/ 194 w 218"/>
                <a:gd name="T69" fmla="*/ 175 h 254"/>
                <a:gd name="T70" fmla="*/ 202 w 218"/>
                <a:gd name="T71" fmla="*/ 163 h 254"/>
                <a:gd name="T72" fmla="*/ 208 w 218"/>
                <a:gd name="T73" fmla="*/ 151 h 254"/>
                <a:gd name="T74" fmla="*/ 214 w 218"/>
                <a:gd name="T75" fmla="*/ 137 h 254"/>
                <a:gd name="T76" fmla="*/ 218 w 218"/>
                <a:gd name="T77" fmla="*/ 123 h 254"/>
                <a:gd name="T78" fmla="*/ 218 w 218"/>
                <a:gd name="T79" fmla="*/ 107 h 254"/>
                <a:gd name="T80" fmla="*/ 218 w 218"/>
                <a:gd name="T81" fmla="*/ 10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8" h="254">
                  <a:moveTo>
                    <a:pt x="218" y="107"/>
                  </a:moveTo>
                  <a:lnTo>
                    <a:pt x="218" y="107"/>
                  </a:lnTo>
                  <a:lnTo>
                    <a:pt x="216" y="85"/>
                  </a:lnTo>
                  <a:lnTo>
                    <a:pt x="210" y="65"/>
                  </a:lnTo>
                  <a:lnTo>
                    <a:pt x="200" y="47"/>
                  </a:lnTo>
                  <a:lnTo>
                    <a:pt x="186" y="31"/>
                  </a:lnTo>
                  <a:lnTo>
                    <a:pt x="170" y="17"/>
                  </a:lnTo>
                  <a:lnTo>
                    <a:pt x="151" y="8"/>
                  </a:lnTo>
                  <a:lnTo>
                    <a:pt x="131" y="2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87" y="2"/>
                  </a:lnTo>
                  <a:lnTo>
                    <a:pt x="67" y="8"/>
                  </a:lnTo>
                  <a:lnTo>
                    <a:pt x="48" y="17"/>
                  </a:lnTo>
                  <a:lnTo>
                    <a:pt x="32" y="31"/>
                  </a:lnTo>
                  <a:lnTo>
                    <a:pt x="18" y="47"/>
                  </a:lnTo>
                  <a:lnTo>
                    <a:pt x="8" y="65"/>
                  </a:lnTo>
                  <a:lnTo>
                    <a:pt x="2" y="8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2" y="123"/>
                  </a:lnTo>
                  <a:lnTo>
                    <a:pt x="4" y="137"/>
                  </a:lnTo>
                  <a:lnTo>
                    <a:pt x="10" y="151"/>
                  </a:lnTo>
                  <a:lnTo>
                    <a:pt x="16" y="163"/>
                  </a:lnTo>
                  <a:lnTo>
                    <a:pt x="24" y="175"/>
                  </a:lnTo>
                  <a:lnTo>
                    <a:pt x="34" y="185"/>
                  </a:lnTo>
                  <a:lnTo>
                    <a:pt x="46" y="195"/>
                  </a:lnTo>
                  <a:lnTo>
                    <a:pt x="59" y="203"/>
                  </a:lnTo>
                  <a:lnTo>
                    <a:pt x="59" y="254"/>
                  </a:lnTo>
                  <a:lnTo>
                    <a:pt x="159" y="254"/>
                  </a:lnTo>
                  <a:lnTo>
                    <a:pt x="159" y="203"/>
                  </a:lnTo>
                  <a:lnTo>
                    <a:pt x="159" y="203"/>
                  </a:lnTo>
                  <a:lnTo>
                    <a:pt x="172" y="195"/>
                  </a:lnTo>
                  <a:lnTo>
                    <a:pt x="184" y="185"/>
                  </a:lnTo>
                  <a:lnTo>
                    <a:pt x="194" y="175"/>
                  </a:lnTo>
                  <a:lnTo>
                    <a:pt x="202" y="163"/>
                  </a:lnTo>
                  <a:lnTo>
                    <a:pt x="208" y="151"/>
                  </a:lnTo>
                  <a:lnTo>
                    <a:pt x="214" y="137"/>
                  </a:lnTo>
                  <a:lnTo>
                    <a:pt x="218" y="123"/>
                  </a:lnTo>
                  <a:lnTo>
                    <a:pt x="218" y="107"/>
                  </a:lnTo>
                  <a:lnTo>
                    <a:pt x="218" y="107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Line 1062">
              <a:extLst>
                <a:ext uri="{FF2B5EF4-FFF2-40B4-BE49-F238E27FC236}">
                  <a16:creationId xmlns:a16="http://schemas.microsoft.com/office/drawing/2014/main" id="{10391152-6BCD-4248-9D6D-2842D7A496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696575" y="5033963"/>
              <a:ext cx="158750" cy="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Line 1063">
              <a:extLst>
                <a:ext uri="{FF2B5EF4-FFF2-40B4-BE49-F238E27FC236}">
                  <a16:creationId xmlns:a16="http://schemas.microsoft.com/office/drawing/2014/main" id="{B20E7194-66CB-4E58-8EDB-75BD4C0E6F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696575" y="5087938"/>
              <a:ext cx="158750" cy="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064">
              <a:extLst>
                <a:ext uri="{FF2B5EF4-FFF2-40B4-BE49-F238E27FC236}">
                  <a16:creationId xmlns:a16="http://schemas.microsoft.com/office/drawing/2014/main" id="{90968FAA-5140-4A43-A19C-DE014E9D6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5150" y="5087938"/>
              <a:ext cx="101600" cy="50800"/>
            </a:xfrm>
            <a:custGeom>
              <a:avLst/>
              <a:gdLst>
                <a:gd name="T0" fmla="*/ 64 w 64"/>
                <a:gd name="T1" fmla="*/ 0 h 32"/>
                <a:gd name="T2" fmla="*/ 64 w 64"/>
                <a:gd name="T3" fmla="*/ 0 h 32"/>
                <a:gd name="T4" fmla="*/ 64 w 64"/>
                <a:gd name="T5" fmla="*/ 6 h 32"/>
                <a:gd name="T6" fmla="*/ 62 w 64"/>
                <a:gd name="T7" fmla="*/ 12 h 32"/>
                <a:gd name="T8" fmla="*/ 60 w 64"/>
                <a:gd name="T9" fmla="*/ 18 h 32"/>
                <a:gd name="T10" fmla="*/ 56 w 64"/>
                <a:gd name="T11" fmla="*/ 22 h 32"/>
                <a:gd name="T12" fmla="*/ 50 w 64"/>
                <a:gd name="T13" fmla="*/ 26 h 32"/>
                <a:gd name="T14" fmla="*/ 44 w 64"/>
                <a:gd name="T15" fmla="*/ 30 h 32"/>
                <a:gd name="T16" fmla="*/ 38 w 64"/>
                <a:gd name="T17" fmla="*/ 32 h 32"/>
                <a:gd name="T18" fmla="*/ 32 w 64"/>
                <a:gd name="T19" fmla="*/ 32 h 32"/>
                <a:gd name="T20" fmla="*/ 32 w 64"/>
                <a:gd name="T21" fmla="*/ 32 h 32"/>
                <a:gd name="T22" fmla="*/ 26 w 64"/>
                <a:gd name="T23" fmla="*/ 32 h 32"/>
                <a:gd name="T24" fmla="*/ 20 w 64"/>
                <a:gd name="T25" fmla="*/ 30 h 32"/>
                <a:gd name="T26" fmla="*/ 14 w 64"/>
                <a:gd name="T27" fmla="*/ 26 h 32"/>
                <a:gd name="T28" fmla="*/ 10 w 64"/>
                <a:gd name="T29" fmla="*/ 22 h 32"/>
                <a:gd name="T30" fmla="*/ 6 w 64"/>
                <a:gd name="T31" fmla="*/ 18 h 32"/>
                <a:gd name="T32" fmla="*/ 2 w 64"/>
                <a:gd name="T33" fmla="*/ 12 h 32"/>
                <a:gd name="T34" fmla="*/ 0 w 64"/>
                <a:gd name="T35" fmla="*/ 6 h 32"/>
                <a:gd name="T36" fmla="*/ 0 w 64"/>
                <a:gd name="T3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32">
                  <a:moveTo>
                    <a:pt x="64" y="0"/>
                  </a:moveTo>
                  <a:lnTo>
                    <a:pt x="64" y="0"/>
                  </a:lnTo>
                  <a:lnTo>
                    <a:pt x="64" y="6"/>
                  </a:lnTo>
                  <a:lnTo>
                    <a:pt x="62" y="12"/>
                  </a:lnTo>
                  <a:lnTo>
                    <a:pt x="60" y="18"/>
                  </a:lnTo>
                  <a:lnTo>
                    <a:pt x="56" y="22"/>
                  </a:lnTo>
                  <a:lnTo>
                    <a:pt x="50" y="26"/>
                  </a:lnTo>
                  <a:lnTo>
                    <a:pt x="44" y="30"/>
                  </a:lnTo>
                  <a:lnTo>
                    <a:pt x="3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6" y="32"/>
                  </a:lnTo>
                  <a:lnTo>
                    <a:pt x="20" y="30"/>
                  </a:lnTo>
                  <a:lnTo>
                    <a:pt x="14" y="26"/>
                  </a:lnTo>
                  <a:lnTo>
                    <a:pt x="10" y="22"/>
                  </a:lnTo>
                  <a:lnTo>
                    <a:pt x="6" y="18"/>
                  </a:lnTo>
                  <a:lnTo>
                    <a:pt x="2" y="12"/>
                  </a:ln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Line 1065">
              <a:extLst>
                <a:ext uri="{FF2B5EF4-FFF2-40B4-BE49-F238E27FC236}">
                  <a16:creationId xmlns:a16="http://schemas.microsoft.com/office/drawing/2014/main" id="{D8CD896C-663C-44EF-89C9-25527516F86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775950" y="4414838"/>
              <a:ext cx="0" cy="10795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Line 1066">
              <a:extLst>
                <a:ext uri="{FF2B5EF4-FFF2-40B4-BE49-F238E27FC236}">
                  <a16:creationId xmlns:a16="http://schemas.microsoft.com/office/drawing/2014/main" id="{A1C1E225-6C75-46D7-BC78-6C8CEE3EDC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09313" y="4749801"/>
              <a:ext cx="109538" cy="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Line 1067">
              <a:extLst>
                <a:ext uri="{FF2B5EF4-FFF2-40B4-BE49-F238E27FC236}">
                  <a16:creationId xmlns:a16="http://schemas.microsoft.com/office/drawing/2014/main" id="{DD28C267-88F7-477B-BC17-6CFE4149B5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433050" y="4749801"/>
              <a:ext cx="109538" cy="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Line 1068">
              <a:extLst>
                <a:ext uri="{FF2B5EF4-FFF2-40B4-BE49-F238E27FC236}">
                  <a16:creationId xmlns:a16="http://schemas.microsoft.com/office/drawing/2014/main" id="{51C49780-5274-4862-9BBE-38584AE0F9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945813" y="4506913"/>
              <a:ext cx="76200" cy="7620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Line 1069">
              <a:extLst>
                <a:ext uri="{FF2B5EF4-FFF2-40B4-BE49-F238E27FC236}">
                  <a16:creationId xmlns:a16="http://schemas.microsoft.com/office/drawing/2014/main" id="{45BE6433-8B32-4E5F-B31B-CCA6A9CC96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0533063" y="4506913"/>
              <a:ext cx="76200" cy="7620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7" name="Groupe 46">
            <a:extLst>
              <a:ext uri="{FF2B5EF4-FFF2-40B4-BE49-F238E27FC236}">
                <a16:creationId xmlns:a16="http://schemas.microsoft.com/office/drawing/2014/main" id="{893C27C0-49E0-457F-B070-F9298E479E1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10985" y="3042259"/>
            <a:ext cx="479425" cy="730251"/>
            <a:chOff x="9717088" y="4421188"/>
            <a:chExt cx="479425" cy="730251"/>
          </a:xfrm>
        </p:grpSpPr>
        <p:sp>
          <p:nvSpPr>
            <p:cNvPr id="48" name="Freeform 1073">
              <a:extLst>
                <a:ext uri="{FF2B5EF4-FFF2-40B4-BE49-F238E27FC236}">
                  <a16:creationId xmlns:a16="http://schemas.microsoft.com/office/drawing/2014/main" id="{00959BFA-AA8A-43B7-9813-24B04CC3B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1863" y="4421188"/>
              <a:ext cx="269875" cy="587375"/>
            </a:xfrm>
            <a:custGeom>
              <a:avLst/>
              <a:gdLst>
                <a:gd name="T0" fmla="*/ 148 w 170"/>
                <a:gd name="T1" fmla="*/ 370 h 370"/>
                <a:gd name="T2" fmla="*/ 148 w 170"/>
                <a:gd name="T3" fmla="*/ 370 h 370"/>
                <a:gd name="T4" fmla="*/ 158 w 170"/>
                <a:gd name="T5" fmla="*/ 339 h 370"/>
                <a:gd name="T6" fmla="*/ 164 w 170"/>
                <a:gd name="T7" fmla="*/ 307 h 370"/>
                <a:gd name="T8" fmla="*/ 168 w 170"/>
                <a:gd name="T9" fmla="*/ 275 h 370"/>
                <a:gd name="T10" fmla="*/ 170 w 170"/>
                <a:gd name="T11" fmla="*/ 241 h 370"/>
                <a:gd name="T12" fmla="*/ 170 w 170"/>
                <a:gd name="T13" fmla="*/ 241 h 370"/>
                <a:gd name="T14" fmla="*/ 168 w 170"/>
                <a:gd name="T15" fmla="*/ 207 h 370"/>
                <a:gd name="T16" fmla="*/ 164 w 170"/>
                <a:gd name="T17" fmla="*/ 173 h 370"/>
                <a:gd name="T18" fmla="*/ 158 w 170"/>
                <a:gd name="T19" fmla="*/ 141 h 370"/>
                <a:gd name="T20" fmla="*/ 148 w 170"/>
                <a:gd name="T21" fmla="*/ 109 h 370"/>
                <a:gd name="T22" fmla="*/ 136 w 170"/>
                <a:gd name="T23" fmla="*/ 82 h 370"/>
                <a:gd name="T24" fmla="*/ 120 w 170"/>
                <a:gd name="T25" fmla="*/ 52 h 370"/>
                <a:gd name="T26" fmla="*/ 104 w 170"/>
                <a:gd name="T27" fmla="*/ 26 h 370"/>
                <a:gd name="T28" fmla="*/ 86 w 170"/>
                <a:gd name="T29" fmla="*/ 0 h 370"/>
                <a:gd name="T30" fmla="*/ 86 w 170"/>
                <a:gd name="T31" fmla="*/ 0 h 370"/>
                <a:gd name="T32" fmla="*/ 86 w 170"/>
                <a:gd name="T33" fmla="*/ 0 h 370"/>
                <a:gd name="T34" fmla="*/ 66 w 170"/>
                <a:gd name="T35" fmla="*/ 26 h 370"/>
                <a:gd name="T36" fmla="*/ 50 w 170"/>
                <a:gd name="T37" fmla="*/ 52 h 370"/>
                <a:gd name="T38" fmla="*/ 36 w 170"/>
                <a:gd name="T39" fmla="*/ 82 h 370"/>
                <a:gd name="T40" fmla="*/ 24 w 170"/>
                <a:gd name="T41" fmla="*/ 109 h 370"/>
                <a:gd name="T42" fmla="*/ 14 w 170"/>
                <a:gd name="T43" fmla="*/ 141 h 370"/>
                <a:gd name="T44" fmla="*/ 6 w 170"/>
                <a:gd name="T45" fmla="*/ 173 h 370"/>
                <a:gd name="T46" fmla="*/ 2 w 170"/>
                <a:gd name="T47" fmla="*/ 207 h 370"/>
                <a:gd name="T48" fmla="*/ 0 w 170"/>
                <a:gd name="T49" fmla="*/ 241 h 370"/>
                <a:gd name="T50" fmla="*/ 0 w 170"/>
                <a:gd name="T51" fmla="*/ 241 h 370"/>
                <a:gd name="T52" fmla="*/ 2 w 170"/>
                <a:gd name="T53" fmla="*/ 275 h 370"/>
                <a:gd name="T54" fmla="*/ 6 w 170"/>
                <a:gd name="T55" fmla="*/ 307 h 370"/>
                <a:gd name="T56" fmla="*/ 14 w 170"/>
                <a:gd name="T57" fmla="*/ 339 h 370"/>
                <a:gd name="T58" fmla="*/ 24 w 170"/>
                <a:gd name="T59" fmla="*/ 370 h 370"/>
                <a:gd name="T60" fmla="*/ 148 w 170"/>
                <a:gd name="T61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0" h="370">
                  <a:moveTo>
                    <a:pt x="148" y="370"/>
                  </a:moveTo>
                  <a:lnTo>
                    <a:pt x="148" y="370"/>
                  </a:lnTo>
                  <a:lnTo>
                    <a:pt x="158" y="339"/>
                  </a:lnTo>
                  <a:lnTo>
                    <a:pt x="164" y="307"/>
                  </a:lnTo>
                  <a:lnTo>
                    <a:pt x="168" y="275"/>
                  </a:lnTo>
                  <a:lnTo>
                    <a:pt x="170" y="241"/>
                  </a:lnTo>
                  <a:lnTo>
                    <a:pt x="170" y="241"/>
                  </a:lnTo>
                  <a:lnTo>
                    <a:pt x="168" y="207"/>
                  </a:lnTo>
                  <a:lnTo>
                    <a:pt x="164" y="173"/>
                  </a:lnTo>
                  <a:lnTo>
                    <a:pt x="158" y="141"/>
                  </a:lnTo>
                  <a:lnTo>
                    <a:pt x="148" y="109"/>
                  </a:lnTo>
                  <a:lnTo>
                    <a:pt x="136" y="82"/>
                  </a:lnTo>
                  <a:lnTo>
                    <a:pt x="120" y="52"/>
                  </a:lnTo>
                  <a:lnTo>
                    <a:pt x="104" y="26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66" y="26"/>
                  </a:lnTo>
                  <a:lnTo>
                    <a:pt x="50" y="52"/>
                  </a:lnTo>
                  <a:lnTo>
                    <a:pt x="36" y="82"/>
                  </a:lnTo>
                  <a:lnTo>
                    <a:pt x="24" y="109"/>
                  </a:lnTo>
                  <a:lnTo>
                    <a:pt x="14" y="141"/>
                  </a:lnTo>
                  <a:lnTo>
                    <a:pt x="6" y="173"/>
                  </a:lnTo>
                  <a:lnTo>
                    <a:pt x="2" y="207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2" y="275"/>
                  </a:lnTo>
                  <a:lnTo>
                    <a:pt x="6" y="307"/>
                  </a:lnTo>
                  <a:lnTo>
                    <a:pt x="14" y="339"/>
                  </a:lnTo>
                  <a:lnTo>
                    <a:pt x="24" y="370"/>
                  </a:lnTo>
                  <a:lnTo>
                    <a:pt x="148" y="370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074">
              <a:extLst>
                <a:ext uri="{FF2B5EF4-FFF2-40B4-BE49-F238E27FC236}">
                  <a16:creationId xmlns:a16="http://schemas.microsoft.com/office/drawing/2014/main" id="{7BA51CEB-2BD1-450E-8FBF-87E1FD487F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4888" y="4651376"/>
              <a:ext cx="127000" cy="127000"/>
            </a:xfrm>
            <a:custGeom>
              <a:avLst/>
              <a:gdLst>
                <a:gd name="T0" fmla="*/ 80 w 80"/>
                <a:gd name="T1" fmla="*/ 40 h 80"/>
                <a:gd name="T2" fmla="*/ 80 w 80"/>
                <a:gd name="T3" fmla="*/ 40 h 80"/>
                <a:gd name="T4" fmla="*/ 78 w 80"/>
                <a:gd name="T5" fmla="*/ 48 h 80"/>
                <a:gd name="T6" fmla="*/ 76 w 80"/>
                <a:gd name="T7" fmla="*/ 56 h 80"/>
                <a:gd name="T8" fmla="*/ 72 w 80"/>
                <a:gd name="T9" fmla="*/ 62 h 80"/>
                <a:gd name="T10" fmla="*/ 68 w 80"/>
                <a:gd name="T11" fmla="*/ 68 h 80"/>
                <a:gd name="T12" fmla="*/ 62 w 80"/>
                <a:gd name="T13" fmla="*/ 74 h 80"/>
                <a:gd name="T14" fmla="*/ 54 w 80"/>
                <a:gd name="T15" fmla="*/ 76 h 80"/>
                <a:gd name="T16" fmla="*/ 48 w 80"/>
                <a:gd name="T17" fmla="*/ 80 h 80"/>
                <a:gd name="T18" fmla="*/ 40 w 80"/>
                <a:gd name="T19" fmla="*/ 80 h 80"/>
                <a:gd name="T20" fmla="*/ 40 w 80"/>
                <a:gd name="T21" fmla="*/ 80 h 80"/>
                <a:gd name="T22" fmla="*/ 32 w 80"/>
                <a:gd name="T23" fmla="*/ 80 h 80"/>
                <a:gd name="T24" fmla="*/ 24 w 80"/>
                <a:gd name="T25" fmla="*/ 76 h 80"/>
                <a:gd name="T26" fmla="*/ 18 w 80"/>
                <a:gd name="T27" fmla="*/ 74 h 80"/>
                <a:gd name="T28" fmla="*/ 12 w 80"/>
                <a:gd name="T29" fmla="*/ 68 h 80"/>
                <a:gd name="T30" fmla="*/ 6 w 80"/>
                <a:gd name="T31" fmla="*/ 62 h 80"/>
                <a:gd name="T32" fmla="*/ 2 w 80"/>
                <a:gd name="T33" fmla="*/ 56 h 80"/>
                <a:gd name="T34" fmla="*/ 0 w 80"/>
                <a:gd name="T35" fmla="*/ 48 h 80"/>
                <a:gd name="T36" fmla="*/ 0 w 80"/>
                <a:gd name="T37" fmla="*/ 40 h 80"/>
                <a:gd name="T38" fmla="*/ 0 w 80"/>
                <a:gd name="T39" fmla="*/ 40 h 80"/>
                <a:gd name="T40" fmla="*/ 0 w 80"/>
                <a:gd name="T41" fmla="*/ 32 h 80"/>
                <a:gd name="T42" fmla="*/ 2 w 80"/>
                <a:gd name="T43" fmla="*/ 24 h 80"/>
                <a:gd name="T44" fmla="*/ 6 w 80"/>
                <a:gd name="T45" fmla="*/ 18 h 80"/>
                <a:gd name="T46" fmla="*/ 12 w 80"/>
                <a:gd name="T47" fmla="*/ 12 h 80"/>
                <a:gd name="T48" fmla="*/ 18 w 80"/>
                <a:gd name="T49" fmla="*/ 8 h 80"/>
                <a:gd name="T50" fmla="*/ 24 w 80"/>
                <a:gd name="T51" fmla="*/ 4 h 80"/>
                <a:gd name="T52" fmla="*/ 32 w 80"/>
                <a:gd name="T53" fmla="*/ 2 h 80"/>
                <a:gd name="T54" fmla="*/ 40 w 80"/>
                <a:gd name="T55" fmla="*/ 0 h 80"/>
                <a:gd name="T56" fmla="*/ 40 w 80"/>
                <a:gd name="T57" fmla="*/ 0 h 80"/>
                <a:gd name="T58" fmla="*/ 48 w 80"/>
                <a:gd name="T59" fmla="*/ 2 h 80"/>
                <a:gd name="T60" fmla="*/ 54 w 80"/>
                <a:gd name="T61" fmla="*/ 4 h 80"/>
                <a:gd name="T62" fmla="*/ 62 w 80"/>
                <a:gd name="T63" fmla="*/ 8 h 80"/>
                <a:gd name="T64" fmla="*/ 68 w 80"/>
                <a:gd name="T65" fmla="*/ 12 h 80"/>
                <a:gd name="T66" fmla="*/ 72 w 80"/>
                <a:gd name="T67" fmla="*/ 18 h 80"/>
                <a:gd name="T68" fmla="*/ 76 w 80"/>
                <a:gd name="T69" fmla="*/ 24 h 80"/>
                <a:gd name="T70" fmla="*/ 78 w 80"/>
                <a:gd name="T71" fmla="*/ 32 h 80"/>
                <a:gd name="T72" fmla="*/ 80 w 80"/>
                <a:gd name="T73" fmla="*/ 40 h 80"/>
                <a:gd name="T74" fmla="*/ 80 w 80"/>
                <a:gd name="T75" fmla="*/ 4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lnTo>
                    <a:pt x="80" y="40"/>
                  </a:lnTo>
                  <a:lnTo>
                    <a:pt x="78" y="48"/>
                  </a:lnTo>
                  <a:lnTo>
                    <a:pt x="76" y="56"/>
                  </a:lnTo>
                  <a:lnTo>
                    <a:pt x="72" y="62"/>
                  </a:lnTo>
                  <a:lnTo>
                    <a:pt x="68" y="68"/>
                  </a:lnTo>
                  <a:lnTo>
                    <a:pt x="62" y="74"/>
                  </a:lnTo>
                  <a:lnTo>
                    <a:pt x="54" y="76"/>
                  </a:lnTo>
                  <a:lnTo>
                    <a:pt x="48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32" y="80"/>
                  </a:lnTo>
                  <a:lnTo>
                    <a:pt x="24" y="76"/>
                  </a:lnTo>
                  <a:lnTo>
                    <a:pt x="18" y="74"/>
                  </a:lnTo>
                  <a:lnTo>
                    <a:pt x="12" y="68"/>
                  </a:lnTo>
                  <a:lnTo>
                    <a:pt x="6" y="62"/>
                  </a:lnTo>
                  <a:lnTo>
                    <a:pt x="2" y="56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2" y="24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4" y="4"/>
                  </a:lnTo>
                  <a:lnTo>
                    <a:pt x="32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2"/>
                  </a:lnTo>
                  <a:lnTo>
                    <a:pt x="54" y="4"/>
                  </a:lnTo>
                  <a:lnTo>
                    <a:pt x="62" y="8"/>
                  </a:lnTo>
                  <a:lnTo>
                    <a:pt x="68" y="12"/>
                  </a:lnTo>
                  <a:lnTo>
                    <a:pt x="72" y="18"/>
                  </a:lnTo>
                  <a:lnTo>
                    <a:pt x="76" y="24"/>
                  </a:lnTo>
                  <a:lnTo>
                    <a:pt x="78" y="32"/>
                  </a:lnTo>
                  <a:lnTo>
                    <a:pt x="80" y="40"/>
                  </a:lnTo>
                  <a:lnTo>
                    <a:pt x="80" y="40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075">
              <a:extLst>
                <a:ext uri="{FF2B5EF4-FFF2-40B4-BE49-F238E27FC236}">
                  <a16:creationId xmlns:a16="http://schemas.microsoft.com/office/drawing/2014/main" id="{638C9BCB-EDC4-4C57-B182-9A802774C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6813" y="4714876"/>
              <a:ext cx="139700" cy="436563"/>
            </a:xfrm>
            <a:custGeom>
              <a:avLst/>
              <a:gdLst>
                <a:gd name="T0" fmla="*/ 18 w 88"/>
                <a:gd name="T1" fmla="*/ 0 h 275"/>
                <a:gd name="T2" fmla="*/ 18 w 88"/>
                <a:gd name="T3" fmla="*/ 0 h 275"/>
                <a:gd name="T4" fmla="*/ 18 w 88"/>
                <a:gd name="T5" fmla="*/ 0 h 275"/>
                <a:gd name="T6" fmla="*/ 34 w 88"/>
                <a:gd name="T7" fmla="*/ 18 h 275"/>
                <a:gd name="T8" fmla="*/ 48 w 88"/>
                <a:gd name="T9" fmla="*/ 38 h 275"/>
                <a:gd name="T10" fmla="*/ 60 w 88"/>
                <a:gd name="T11" fmla="*/ 58 h 275"/>
                <a:gd name="T12" fmla="*/ 70 w 88"/>
                <a:gd name="T13" fmla="*/ 78 h 275"/>
                <a:gd name="T14" fmla="*/ 78 w 88"/>
                <a:gd name="T15" fmla="*/ 102 h 275"/>
                <a:gd name="T16" fmla="*/ 84 w 88"/>
                <a:gd name="T17" fmla="*/ 124 h 275"/>
                <a:gd name="T18" fmla="*/ 88 w 88"/>
                <a:gd name="T19" fmla="*/ 148 h 275"/>
                <a:gd name="T20" fmla="*/ 88 w 88"/>
                <a:gd name="T21" fmla="*/ 171 h 275"/>
                <a:gd name="T22" fmla="*/ 88 w 88"/>
                <a:gd name="T23" fmla="*/ 275 h 275"/>
                <a:gd name="T24" fmla="*/ 0 w 88"/>
                <a:gd name="T25" fmla="*/ 18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275">
                  <a:moveTo>
                    <a:pt x="18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34" y="18"/>
                  </a:lnTo>
                  <a:lnTo>
                    <a:pt x="48" y="38"/>
                  </a:lnTo>
                  <a:lnTo>
                    <a:pt x="60" y="58"/>
                  </a:lnTo>
                  <a:lnTo>
                    <a:pt x="70" y="78"/>
                  </a:lnTo>
                  <a:lnTo>
                    <a:pt x="78" y="102"/>
                  </a:lnTo>
                  <a:lnTo>
                    <a:pt x="84" y="124"/>
                  </a:lnTo>
                  <a:lnTo>
                    <a:pt x="88" y="148"/>
                  </a:lnTo>
                  <a:lnTo>
                    <a:pt x="88" y="171"/>
                  </a:lnTo>
                  <a:lnTo>
                    <a:pt x="88" y="275"/>
                  </a:lnTo>
                  <a:lnTo>
                    <a:pt x="0" y="185"/>
                  </a:lnTo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076">
              <a:extLst>
                <a:ext uri="{FF2B5EF4-FFF2-40B4-BE49-F238E27FC236}">
                  <a16:creationId xmlns:a16="http://schemas.microsoft.com/office/drawing/2014/main" id="{A154B062-C521-4719-8978-E5D8E33A8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7088" y="4714876"/>
              <a:ext cx="142875" cy="436563"/>
            </a:xfrm>
            <a:custGeom>
              <a:avLst/>
              <a:gdLst>
                <a:gd name="T0" fmla="*/ 70 w 90"/>
                <a:gd name="T1" fmla="*/ 0 h 275"/>
                <a:gd name="T2" fmla="*/ 70 w 90"/>
                <a:gd name="T3" fmla="*/ 0 h 275"/>
                <a:gd name="T4" fmla="*/ 70 w 90"/>
                <a:gd name="T5" fmla="*/ 0 h 275"/>
                <a:gd name="T6" fmla="*/ 54 w 90"/>
                <a:gd name="T7" fmla="*/ 18 h 275"/>
                <a:gd name="T8" fmla="*/ 40 w 90"/>
                <a:gd name="T9" fmla="*/ 38 h 275"/>
                <a:gd name="T10" fmla="*/ 28 w 90"/>
                <a:gd name="T11" fmla="*/ 58 h 275"/>
                <a:gd name="T12" fmla="*/ 18 w 90"/>
                <a:gd name="T13" fmla="*/ 78 h 275"/>
                <a:gd name="T14" fmla="*/ 10 w 90"/>
                <a:gd name="T15" fmla="*/ 102 h 275"/>
                <a:gd name="T16" fmla="*/ 4 w 90"/>
                <a:gd name="T17" fmla="*/ 124 h 275"/>
                <a:gd name="T18" fmla="*/ 0 w 90"/>
                <a:gd name="T19" fmla="*/ 148 h 275"/>
                <a:gd name="T20" fmla="*/ 0 w 90"/>
                <a:gd name="T21" fmla="*/ 171 h 275"/>
                <a:gd name="T22" fmla="*/ 0 w 90"/>
                <a:gd name="T23" fmla="*/ 275 h 275"/>
                <a:gd name="T24" fmla="*/ 90 w 90"/>
                <a:gd name="T25" fmla="*/ 18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0" h="275">
                  <a:moveTo>
                    <a:pt x="70" y="0"/>
                  </a:moveTo>
                  <a:lnTo>
                    <a:pt x="70" y="0"/>
                  </a:lnTo>
                  <a:lnTo>
                    <a:pt x="70" y="0"/>
                  </a:lnTo>
                  <a:lnTo>
                    <a:pt x="54" y="18"/>
                  </a:lnTo>
                  <a:lnTo>
                    <a:pt x="40" y="38"/>
                  </a:lnTo>
                  <a:lnTo>
                    <a:pt x="28" y="58"/>
                  </a:lnTo>
                  <a:lnTo>
                    <a:pt x="18" y="78"/>
                  </a:lnTo>
                  <a:lnTo>
                    <a:pt x="10" y="102"/>
                  </a:lnTo>
                  <a:lnTo>
                    <a:pt x="4" y="124"/>
                  </a:lnTo>
                  <a:lnTo>
                    <a:pt x="0" y="148"/>
                  </a:lnTo>
                  <a:lnTo>
                    <a:pt x="0" y="171"/>
                  </a:lnTo>
                  <a:lnTo>
                    <a:pt x="0" y="275"/>
                  </a:lnTo>
                  <a:lnTo>
                    <a:pt x="90" y="185"/>
                  </a:lnTo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2" name="Groupe 51">
            <a:extLst>
              <a:ext uri="{FF2B5EF4-FFF2-40B4-BE49-F238E27FC236}">
                <a16:creationId xmlns:a16="http://schemas.microsoft.com/office/drawing/2014/main" id="{13D30179-77E3-427C-AC45-60162A1D9EC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683475" y="3169628"/>
            <a:ext cx="546100" cy="596900"/>
            <a:chOff x="9347200" y="4697413"/>
            <a:chExt cx="546100" cy="596900"/>
          </a:xfrm>
        </p:grpSpPr>
        <p:sp>
          <p:nvSpPr>
            <p:cNvPr id="53" name="Line 1080">
              <a:extLst>
                <a:ext uri="{FF2B5EF4-FFF2-40B4-BE49-F238E27FC236}">
                  <a16:creationId xmlns:a16="http://schemas.microsoft.com/office/drawing/2014/main" id="{16B30B7E-D6C3-4803-BB3A-8E43DF7850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618663" y="4697413"/>
              <a:ext cx="0" cy="32385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1081">
              <a:extLst>
                <a:ext uri="{FF2B5EF4-FFF2-40B4-BE49-F238E27FC236}">
                  <a16:creationId xmlns:a16="http://schemas.microsoft.com/office/drawing/2014/main" id="{7D2E0BC8-4A38-4E41-9F90-5A51A0A16A0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7200" y="4802188"/>
              <a:ext cx="546100" cy="492125"/>
            </a:xfrm>
            <a:custGeom>
              <a:avLst/>
              <a:gdLst>
                <a:gd name="T0" fmla="*/ 270 w 344"/>
                <a:gd name="T1" fmla="*/ 0 h 310"/>
                <a:gd name="T2" fmla="*/ 270 w 344"/>
                <a:gd name="T3" fmla="*/ 0 h 310"/>
                <a:gd name="T4" fmla="*/ 286 w 344"/>
                <a:gd name="T5" fmla="*/ 12 h 310"/>
                <a:gd name="T6" fmla="*/ 300 w 344"/>
                <a:gd name="T7" fmla="*/ 26 h 310"/>
                <a:gd name="T8" fmla="*/ 312 w 344"/>
                <a:gd name="T9" fmla="*/ 42 h 310"/>
                <a:gd name="T10" fmla="*/ 324 w 344"/>
                <a:gd name="T11" fmla="*/ 58 h 310"/>
                <a:gd name="T12" fmla="*/ 332 w 344"/>
                <a:gd name="T13" fmla="*/ 78 h 310"/>
                <a:gd name="T14" fmla="*/ 338 w 344"/>
                <a:gd name="T15" fmla="*/ 98 h 310"/>
                <a:gd name="T16" fmla="*/ 342 w 344"/>
                <a:gd name="T17" fmla="*/ 118 h 310"/>
                <a:gd name="T18" fmla="*/ 344 w 344"/>
                <a:gd name="T19" fmla="*/ 140 h 310"/>
                <a:gd name="T20" fmla="*/ 344 w 344"/>
                <a:gd name="T21" fmla="*/ 140 h 310"/>
                <a:gd name="T22" fmla="*/ 342 w 344"/>
                <a:gd name="T23" fmla="*/ 156 h 310"/>
                <a:gd name="T24" fmla="*/ 340 w 344"/>
                <a:gd name="T25" fmla="*/ 174 h 310"/>
                <a:gd name="T26" fmla="*/ 336 w 344"/>
                <a:gd name="T27" fmla="*/ 190 h 310"/>
                <a:gd name="T28" fmla="*/ 330 w 344"/>
                <a:gd name="T29" fmla="*/ 206 h 310"/>
                <a:gd name="T30" fmla="*/ 322 w 344"/>
                <a:gd name="T31" fmla="*/ 220 h 310"/>
                <a:gd name="T32" fmla="*/ 314 w 344"/>
                <a:gd name="T33" fmla="*/ 234 h 310"/>
                <a:gd name="T34" fmla="*/ 304 w 344"/>
                <a:gd name="T35" fmla="*/ 248 h 310"/>
                <a:gd name="T36" fmla="*/ 294 w 344"/>
                <a:gd name="T37" fmla="*/ 260 h 310"/>
                <a:gd name="T38" fmla="*/ 282 w 344"/>
                <a:gd name="T39" fmla="*/ 270 h 310"/>
                <a:gd name="T40" fmla="*/ 268 w 344"/>
                <a:gd name="T41" fmla="*/ 280 h 310"/>
                <a:gd name="T42" fmla="*/ 253 w 344"/>
                <a:gd name="T43" fmla="*/ 290 h 310"/>
                <a:gd name="T44" fmla="*/ 237 w 344"/>
                <a:gd name="T45" fmla="*/ 296 h 310"/>
                <a:gd name="T46" fmla="*/ 223 w 344"/>
                <a:gd name="T47" fmla="*/ 302 h 310"/>
                <a:gd name="T48" fmla="*/ 205 w 344"/>
                <a:gd name="T49" fmla="*/ 306 h 310"/>
                <a:gd name="T50" fmla="*/ 189 w 344"/>
                <a:gd name="T51" fmla="*/ 308 h 310"/>
                <a:gd name="T52" fmla="*/ 171 w 344"/>
                <a:gd name="T53" fmla="*/ 310 h 310"/>
                <a:gd name="T54" fmla="*/ 171 w 344"/>
                <a:gd name="T55" fmla="*/ 310 h 310"/>
                <a:gd name="T56" fmla="*/ 155 w 344"/>
                <a:gd name="T57" fmla="*/ 308 h 310"/>
                <a:gd name="T58" fmla="*/ 137 w 344"/>
                <a:gd name="T59" fmla="*/ 306 h 310"/>
                <a:gd name="T60" fmla="*/ 121 w 344"/>
                <a:gd name="T61" fmla="*/ 302 h 310"/>
                <a:gd name="T62" fmla="*/ 105 w 344"/>
                <a:gd name="T63" fmla="*/ 296 h 310"/>
                <a:gd name="T64" fmla="*/ 91 w 344"/>
                <a:gd name="T65" fmla="*/ 290 h 310"/>
                <a:gd name="T66" fmla="*/ 76 w 344"/>
                <a:gd name="T67" fmla="*/ 280 h 310"/>
                <a:gd name="T68" fmla="*/ 62 w 344"/>
                <a:gd name="T69" fmla="*/ 270 h 310"/>
                <a:gd name="T70" fmla="*/ 50 w 344"/>
                <a:gd name="T71" fmla="*/ 260 h 310"/>
                <a:gd name="T72" fmla="*/ 38 w 344"/>
                <a:gd name="T73" fmla="*/ 248 h 310"/>
                <a:gd name="T74" fmla="*/ 30 w 344"/>
                <a:gd name="T75" fmla="*/ 234 h 310"/>
                <a:gd name="T76" fmla="*/ 20 w 344"/>
                <a:gd name="T77" fmla="*/ 220 h 310"/>
                <a:gd name="T78" fmla="*/ 14 w 344"/>
                <a:gd name="T79" fmla="*/ 206 h 310"/>
                <a:gd name="T80" fmla="*/ 8 w 344"/>
                <a:gd name="T81" fmla="*/ 190 h 310"/>
                <a:gd name="T82" fmla="*/ 4 w 344"/>
                <a:gd name="T83" fmla="*/ 174 h 310"/>
                <a:gd name="T84" fmla="*/ 0 w 344"/>
                <a:gd name="T85" fmla="*/ 156 h 310"/>
                <a:gd name="T86" fmla="*/ 0 w 344"/>
                <a:gd name="T87" fmla="*/ 140 h 310"/>
                <a:gd name="T88" fmla="*/ 0 w 344"/>
                <a:gd name="T89" fmla="*/ 140 h 310"/>
                <a:gd name="T90" fmla="*/ 2 w 344"/>
                <a:gd name="T91" fmla="*/ 118 h 310"/>
                <a:gd name="T92" fmla="*/ 6 w 344"/>
                <a:gd name="T93" fmla="*/ 98 h 310"/>
                <a:gd name="T94" fmla="*/ 12 w 344"/>
                <a:gd name="T95" fmla="*/ 78 h 310"/>
                <a:gd name="T96" fmla="*/ 20 w 344"/>
                <a:gd name="T97" fmla="*/ 58 h 310"/>
                <a:gd name="T98" fmla="*/ 30 w 344"/>
                <a:gd name="T99" fmla="*/ 42 h 310"/>
                <a:gd name="T100" fmla="*/ 44 w 344"/>
                <a:gd name="T101" fmla="*/ 26 h 310"/>
                <a:gd name="T102" fmla="*/ 58 w 344"/>
                <a:gd name="T103" fmla="*/ 12 h 310"/>
                <a:gd name="T104" fmla="*/ 74 w 344"/>
                <a:gd name="T105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44" h="310">
                  <a:moveTo>
                    <a:pt x="270" y="0"/>
                  </a:moveTo>
                  <a:lnTo>
                    <a:pt x="270" y="0"/>
                  </a:lnTo>
                  <a:lnTo>
                    <a:pt x="286" y="12"/>
                  </a:lnTo>
                  <a:lnTo>
                    <a:pt x="300" y="26"/>
                  </a:lnTo>
                  <a:lnTo>
                    <a:pt x="312" y="42"/>
                  </a:lnTo>
                  <a:lnTo>
                    <a:pt x="324" y="58"/>
                  </a:lnTo>
                  <a:lnTo>
                    <a:pt x="332" y="78"/>
                  </a:lnTo>
                  <a:lnTo>
                    <a:pt x="338" y="98"/>
                  </a:lnTo>
                  <a:lnTo>
                    <a:pt x="342" y="118"/>
                  </a:lnTo>
                  <a:lnTo>
                    <a:pt x="344" y="140"/>
                  </a:lnTo>
                  <a:lnTo>
                    <a:pt x="344" y="140"/>
                  </a:lnTo>
                  <a:lnTo>
                    <a:pt x="342" y="156"/>
                  </a:lnTo>
                  <a:lnTo>
                    <a:pt x="340" y="174"/>
                  </a:lnTo>
                  <a:lnTo>
                    <a:pt x="336" y="190"/>
                  </a:lnTo>
                  <a:lnTo>
                    <a:pt x="330" y="206"/>
                  </a:lnTo>
                  <a:lnTo>
                    <a:pt x="322" y="220"/>
                  </a:lnTo>
                  <a:lnTo>
                    <a:pt x="314" y="234"/>
                  </a:lnTo>
                  <a:lnTo>
                    <a:pt x="304" y="248"/>
                  </a:lnTo>
                  <a:lnTo>
                    <a:pt x="294" y="260"/>
                  </a:lnTo>
                  <a:lnTo>
                    <a:pt x="282" y="270"/>
                  </a:lnTo>
                  <a:lnTo>
                    <a:pt x="268" y="280"/>
                  </a:lnTo>
                  <a:lnTo>
                    <a:pt x="253" y="290"/>
                  </a:lnTo>
                  <a:lnTo>
                    <a:pt x="237" y="296"/>
                  </a:lnTo>
                  <a:lnTo>
                    <a:pt x="223" y="302"/>
                  </a:lnTo>
                  <a:lnTo>
                    <a:pt x="205" y="306"/>
                  </a:lnTo>
                  <a:lnTo>
                    <a:pt x="189" y="308"/>
                  </a:lnTo>
                  <a:lnTo>
                    <a:pt x="171" y="310"/>
                  </a:lnTo>
                  <a:lnTo>
                    <a:pt x="171" y="310"/>
                  </a:lnTo>
                  <a:lnTo>
                    <a:pt x="155" y="308"/>
                  </a:lnTo>
                  <a:lnTo>
                    <a:pt x="137" y="306"/>
                  </a:lnTo>
                  <a:lnTo>
                    <a:pt x="121" y="302"/>
                  </a:lnTo>
                  <a:lnTo>
                    <a:pt x="105" y="296"/>
                  </a:lnTo>
                  <a:lnTo>
                    <a:pt x="91" y="290"/>
                  </a:lnTo>
                  <a:lnTo>
                    <a:pt x="76" y="280"/>
                  </a:lnTo>
                  <a:lnTo>
                    <a:pt x="62" y="270"/>
                  </a:lnTo>
                  <a:lnTo>
                    <a:pt x="50" y="260"/>
                  </a:lnTo>
                  <a:lnTo>
                    <a:pt x="38" y="248"/>
                  </a:lnTo>
                  <a:lnTo>
                    <a:pt x="30" y="234"/>
                  </a:lnTo>
                  <a:lnTo>
                    <a:pt x="20" y="220"/>
                  </a:lnTo>
                  <a:lnTo>
                    <a:pt x="14" y="206"/>
                  </a:lnTo>
                  <a:lnTo>
                    <a:pt x="8" y="190"/>
                  </a:lnTo>
                  <a:lnTo>
                    <a:pt x="4" y="174"/>
                  </a:lnTo>
                  <a:lnTo>
                    <a:pt x="0" y="15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2" y="118"/>
                  </a:lnTo>
                  <a:lnTo>
                    <a:pt x="6" y="98"/>
                  </a:lnTo>
                  <a:lnTo>
                    <a:pt x="12" y="78"/>
                  </a:lnTo>
                  <a:lnTo>
                    <a:pt x="20" y="58"/>
                  </a:lnTo>
                  <a:lnTo>
                    <a:pt x="30" y="42"/>
                  </a:lnTo>
                  <a:lnTo>
                    <a:pt x="44" y="26"/>
                  </a:lnTo>
                  <a:lnTo>
                    <a:pt x="58" y="12"/>
                  </a:lnTo>
                  <a:lnTo>
                    <a:pt x="74" y="0"/>
                  </a:lnTo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Freeform 1085">
            <a:extLst>
              <a:ext uri="{FF2B5EF4-FFF2-40B4-BE49-F238E27FC236}">
                <a16:creationId xmlns:a16="http://schemas.microsoft.com/office/drawing/2014/main" id="{A20C3ED1-B0C5-447E-BE8A-A0D4CBE9F73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8396210" y="3132323"/>
            <a:ext cx="590550" cy="571500"/>
          </a:xfrm>
          <a:custGeom>
            <a:avLst/>
            <a:gdLst>
              <a:gd name="T0" fmla="*/ 187 w 372"/>
              <a:gd name="T1" fmla="*/ 0 h 360"/>
              <a:gd name="T2" fmla="*/ 243 w 372"/>
              <a:gd name="T3" fmla="*/ 119 h 360"/>
              <a:gd name="T4" fmla="*/ 372 w 372"/>
              <a:gd name="T5" fmla="*/ 138 h 360"/>
              <a:gd name="T6" fmla="*/ 279 w 372"/>
              <a:gd name="T7" fmla="*/ 229 h 360"/>
              <a:gd name="T8" fmla="*/ 300 w 372"/>
              <a:gd name="T9" fmla="*/ 360 h 360"/>
              <a:gd name="T10" fmla="*/ 187 w 372"/>
              <a:gd name="T11" fmla="*/ 297 h 360"/>
              <a:gd name="T12" fmla="*/ 72 w 372"/>
              <a:gd name="T13" fmla="*/ 360 h 360"/>
              <a:gd name="T14" fmla="*/ 93 w 372"/>
              <a:gd name="T15" fmla="*/ 229 h 360"/>
              <a:gd name="T16" fmla="*/ 0 w 372"/>
              <a:gd name="T17" fmla="*/ 138 h 360"/>
              <a:gd name="T18" fmla="*/ 129 w 372"/>
              <a:gd name="T19" fmla="*/ 119 h 360"/>
              <a:gd name="T20" fmla="*/ 187 w 372"/>
              <a:gd name="T21" fmla="*/ 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72" h="360">
                <a:moveTo>
                  <a:pt x="187" y="0"/>
                </a:moveTo>
                <a:lnTo>
                  <a:pt x="243" y="119"/>
                </a:lnTo>
                <a:lnTo>
                  <a:pt x="372" y="138"/>
                </a:lnTo>
                <a:lnTo>
                  <a:pt x="279" y="229"/>
                </a:lnTo>
                <a:lnTo>
                  <a:pt x="300" y="360"/>
                </a:lnTo>
                <a:lnTo>
                  <a:pt x="187" y="297"/>
                </a:lnTo>
                <a:lnTo>
                  <a:pt x="72" y="360"/>
                </a:lnTo>
                <a:lnTo>
                  <a:pt x="93" y="229"/>
                </a:lnTo>
                <a:lnTo>
                  <a:pt x="0" y="138"/>
                </a:lnTo>
                <a:lnTo>
                  <a:pt x="129" y="119"/>
                </a:lnTo>
                <a:lnTo>
                  <a:pt x="187" y="0"/>
                </a:lnTo>
                <a:close/>
              </a:path>
            </a:pathLst>
          </a:custGeom>
          <a:noFill/>
          <a:ln w="28575">
            <a:solidFill>
              <a:schemeClr val="bg2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6" name="Groupe 55">
            <a:extLst>
              <a:ext uri="{FF2B5EF4-FFF2-40B4-BE49-F238E27FC236}">
                <a16:creationId xmlns:a16="http://schemas.microsoft.com/office/drawing/2014/main" id="{15B717A3-2D5D-4F9A-8F2C-1C07CD482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154742" y="3193442"/>
            <a:ext cx="647700" cy="590550"/>
            <a:chOff x="9586913" y="4892675"/>
            <a:chExt cx="647700" cy="590550"/>
          </a:xfrm>
        </p:grpSpPr>
        <p:sp>
          <p:nvSpPr>
            <p:cNvPr id="57" name="Freeform 1089">
              <a:extLst>
                <a:ext uri="{FF2B5EF4-FFF2-40B4-BE49-F238E27FC236}">
                  <a16:creationId xmlns:a16="http://schemas.microsoft.com/office/drawing/2014/main" id="{AE6A4F7B-2756-4449-A490-1A334BCD0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6913" y="4892675"/>
              <a:ext cx="647700" cy="463550"/>
            </a:xfrm>
            <a:custGeom>
              <a:avLst/>
              <a:gdLst>
                <a:gd name="T0" fmla="*/ 390 w 408"/>
                <a:gd name="T1" fmla="*/ 292 h 292"/>
                <a:gd name="T2" fmla="*/ 18 w 408"/>
                <a:gd name="T3" fmla="*/ 292 h 292"/>
                <a:gd name="T4" fmla="*/ 18 w 408"/>
                <a:gd name="T5" fmla="*/ 292 h 292"/>
                <a:gd name="T6" fmla="*/ 12 w 408"/>
                <a:gd name="T7" fmla="*/ 292 h 292"/>
                <a:gd name="T8" fmla="*/ 6 w 408"/>
                <a:gd name="T9" fmla="*/ 288 h 292"/>
                <a:gd name="T10" fmla="*/ 2 w 408"/>
                <a:gd name="T11" fmla="*/ 283 h 292"/>
                <a:gd name="T12" fmla="*/ 0 w 408"/>
                <a:gd name="T13" fmla="*/ 277 h 292"/>
                <a:gd name="T14" fmla="*/ 0 w 408"/>
                <a:gd name="T15" fmla="*/ 16 h 292"/>
                <a:gd name="T16" fmla="*/ 0 w 408"/>
                <a:gd name="T17" fmla="*/ 16 h 292"/>
                <a:gd name="T18" fmla="*/ 2 w 408"/>
                <a:gd name="T19" fmla="*/ 10 h 292"/>
                <a:gd name="T20" fmla="*/ 6 w 408"/>
                <a:gd name="T21" fmla="*/ 4 h 292"/>
                <a:gd name="T22" fmla="*/ 12 w 408"/>
                <a:gd name="T23" fmla="*/ 0 h 292"/>
                <a:gd name="T24" fmla="*/ 18 w 408"/>
                <a:gd name="T25" fmla="*/ 0 h 292"/>
                <a:gd name="T26" fmla="*/ 390 w 408"/>
                <a:gd name="T27" fmla="*/ 0 h 292"/>
                <a:gd name="T28" fmla="*/ 390 w 408"/>
                <a:gd name="T29" fmla="*/ 0 h 292"/>
                <a:gd name="T30" fmla="*/ 398 w 408"/>
                <a:gd name="T31" fmla="*/ 0 h 292"/>
                <a:gd name="T32" fmla="*/ 404 w 408"/>
                <a:gd name="T33" fmla="*/ 4 h 292"/>
                <a:gd name="T34" fmla="*/ 406 w 408"/>
                <a:gd name="T35" fmla="*/ 10 h 292"/>
                <a:gd name="T36" fmla="*/ 408 w 408"/>
                <a:gd name="T37" fmla="*/ 16 h 292"/>
                <a:gd name="T38" fmla="*/ 408 w 408"/>
                <a:gd name="T39" fmla="*/ 277 h 292"/>
                <a:gd name="T40" fmla="*/ 408 w 408"/>
                <a:gd name="T41" fmla="*/ 277 h 292"/>
                <a:gd name="T42" fmla="*/ 406 w 408"/>
                <a:gd name="T43" fmla="*/ 283 h 292"/>
                <a:gd name="T44" fmla="*/ 404 w 408"/>
                <a:gd name="T45" fmla="*/ 288 h 292"/>
                <a:gd name="T46" fmla="*/ 398 w 408"/>
                <a:gd name="T47" fmla="*/ 292 h 292"/>
                <a:gd name="T48" fmla="*/ 390 w 408"/>
                <a:gd name="T49" fmla="*/ 292 h 292"/>
                <a:gd name="T50" fmla="*/ 390 w 408"/>
                <a:gd name="T51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08" h="292">
                  <a:moveTo>
                    <a:pt x="390" y="292"/>
                  </a:moveTo>
                  <a:lnTo>
                    <a:pt x="18" y="292"/>
                  </a:lnTo>
                  <a:lnTo>
                    <a:pt x="18" y="292"/>
                  </a:lnTo>
                  <a:lnTo>
                    <a:pt x="12" y="292"/>
                  </a:lnTo>
                  <a:lnTo>
                    <a:pt x="6" y="288"/>
                  </a:lnTo>
                  <a:lnTo>
                    <a:pt x="2" y="283"/>
                  </a:lnTo>
                  <a:lnTo>
                    <a:pt x="0" y="277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0"/>
                  </a:lnTo>
                  <a:lnTo>
                    <a:pt x="6" y="4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90" y="0"/>
                  </a:lnTo>
                  <a:lnTo>
                    <a:pt x="390" y="0"/>
                  </a:lnTo>
                  <a:lnTo>
                    <a:pt x="398" y="0"/>
                  </a:lnTo>
                  <a:lnTo>
                    <a:pt x="404" y="4"/>
                  </a:lnTo>
                  <a:lnTo>
                    <a:pt x="406" y="10"/>
                  </a:lnTo>
                  <a:lnTo>
                    <a:pt x="408" y="16"/>
                  </a:lnTo>
                  <a:lnTo>
                    <a:pt x="408" y="277"/>
                  </a:lnTo>
                  <a:lnTo>
                    <a:pt x="408" y="277"/>
                  </a:lnTo>
                  <a:lnTo>
                    <a:pt x="406" y="283"/>
                  </a:lnTo>
                  <a:lnTo>
                    <a:pt x="404" y="288"/>
                  </a:lnTo>
                  <a:lnTo>
                    <a:pt x="398" y="292"/>
                  </a:lnTo>
                  <a:lnTo>
                    <a:pt x="390" y="292"/>
                  </a:lnTo>
                  <a:lnTo>
                    <a:pt x="390" y="292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90">
              <a:extLst>
                <a:ext uri="{FF2B5EF4-FFF2-40B4-BE49-F238E27FC236}">
                  <a16:creationId xmlns:a16="http://schemas.microsoft.com/office/drawing/2014/main" id="{2EF3B3FB-8271-413D-A325-EDCC49432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9326" y="5356225"/>
              <a:ext cx="142875" cy="127000"/>
            </a:xfrm>
            <a:custGeom>
              <a:avLst/>
              <a:gdLst>
                <a:gd name="T0" fmla="*/ 90 w 90"/>
                <a:gd name="T1" fmla="*/ 80 h 80"/>
                <a:gd name="T2" fmla="*/ 0 w 90"/>
                <a:gd name="T3" fmla="*/ 80 h 80"/>
                <a:gd name="T4" fmla="*/ 12 w 90"/>
                <a:gd name="T5" fmla="*/ 0 h 80"/>
                <a:gd name="T6" fmla="*/ 80 w 90"/>
                <a:gd name="T7" fmla="*/ 0 h 80"/>
                <a:gd name="T8" fmla="*/ 90 w 90"/>
                <a:gd name="T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80">
                  <a:moveTo>
                    <a:pt x="90" y="80"/>
                  </a:moveTo>
                  <a:lnTo>
                    <a:pt x="0" y="80"/>
                  </a:lnTo>
                  <a:lnTo>
                    <a:pt x="12" y="0"/>
                  </a:lnTo>
                  <a:lnTo>
                    <a:pt x="80" y="0"/>
                  </a:lnTo>
                  <a:lnTo>
                    <a:pt x="90" y="80"/>
                  </a:lnTo>
                  <a:close/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Line 1091">
              <a:extLst>
                <a:ext uri="{FF2B5EF4-FFF2-40B4-BE49-F238E27FC236}">
                  <a16:creationId xmlns:a16="http://schemas.microsoft.com/office/drawing/2014/main" id="{DEBFB6FF-F5F2-4B77-B562-E00A926263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85351" y="5483225"/>
              <a:ext cx="254000" cy="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Line 1092">
              <a:extLst>
                <a:ext uri="{FF2B5EF4-FFF2-40B4-BE49-F238E27FC236}">
                  <a16:creationId xmlns:a16="http://schemas.microsoft.com/office/drawing/2014/main" id="{9E8CFFB3-C490-4888-819B-7BB3CA9A4C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86913" y="5249863"/>
              <a:ext cx="647700" cy="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1" name="Groupe 60">
            <a:extLst>
              <a:ext uri="{FF2B5EF4-FFF2-40B4-BE49-F238E27FC236}">
                <a16:creationId xmlns:a16="http://schemas.microsoft.com/office/drawing/2014/main" id="{A1FB3F57-14E0-4E7E-BD61-5E658C0C100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188079" y="4372947"/>
            <a:ext cx="581025" cy="593725"/>
            <a:chOff x="9277350" y="4683125"/>
            <a:chExt cx="581025" cy="593725"/>
          </a:xfrm>
        </p:grpSpPr>
        <p:sp>
          <p:nvSpPr>
            <p:cNvPr id="62" name="Freeform 1096">
              <a:extLst>
                <a:ext uri="{FF2B5EF4-FFF2-40B4-BE49-F238E27FC236}">
                  <a16:creationId xmlns:a16="http://schemas.microsoft.com/office/drawing/2014/main" id="{430F13B2-1C5D-4753-BAC7-F3CEAC2BD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7350" y="5000625"/>
              <a:ext cx="581025" cy="276225"/>
            </a:xfrm>
            <a:custGeom>
              <a:avLst/>
              <a:gdLst>
                <a:gd name="T0" fmla="*/ 366 w 366"/>
                <a:gd name="T1" fmla="*/ 0 h 174"/>
                <a:gd name="T2" fmla="*/ 366 w 366"/>
                <a:gd name="T3" fmla="*/ 174 h 174"/>
                <a:gd name="T4" fmla="*/ 0 w 366"/>
                <a:gd name="T5" fmla="*/ 174 h 174"/>
                <a:gd name="T6" fmla="*/ 0 w 366"/>
                <a:gd name="T7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6" h="174">
                  <a:moveTo>
                    <a:pt x="366" y="0"/>
                  </a:moveTo>
                  <a:lnTo>
                    <a:pt x="366" y="174"/>
                  </a:lnTo>
                  <a:lnTo>
                    <a:pt x="0" y="174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Line 1097">
              <a:extLst>
                <a:ext uri="{FF2B5EF4-FFF2-40B4-BE49-F238E27FC236}">
                  <a16:creationId xmlns:a16="http://schemas.microsoft.com/office/drawing/2014/main" id="{1355AA29-DC22-4754-9245-B9B48BD9C6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66275" y="4683125"/>
              <a:ext cx="0" cy="458788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1098">
              <a:extLst>
                <a:ext uri="{FF2B5EF4-FFF2-40B4-BE49-F238E27FC236}">
                  <a16:creationId xmlns:a16="http://schemas.microsoft.com/office/drawing/2014/main" id="{1A4859D8-97B2-430C-BCEC-221BCC9EE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3875" y="4994275"/>
              <a:ext cx="307975" cy="153988"/>
            </a:xfrm>
            <a:custGeom>
              <a:avLst/>
              <a:gdLst>
                <a:gd name="T0" fmla="*/ 0 w 194"/>
                <a:gd name="T1" fmla="*/ 0 h 97"/>
                <a:gd name="T2" fmla="*/ 96 w 194"/>
                <a:gd name="T3" fmla="*/ 97 h 97"/>
                <a:gd name="T4" fmla="*/ 194 w 194"/>
                <a:gd name="T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4" h="97">
                  <a:moveTo>
                    <a:pt x="0" y="0"/>
                  </a:moveTo>
                  <a:lnTo>
                    <a:pt x="96" y="97"/>
                  </a:lnTo>
                  <a:lnTo>
                    <a:pt x="194" y="0"/>
                  </a:lnTo>
                </a:path>
              </a:pathLst>
            </a:cu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Freeform 1102">
            <a:extLst>
              <a:ext uri="{FF2B5EF4-FFF2-40B4-BE49-F238E27FC236}">
                <a16:creationId xmlns:a16="http://schemas.microsoft.com/office/drawing/2014/main" id="{0F995A45-517B-4819-88D2-2A7525AA1E9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580537" y="4605491"/>
            <a:ext cx="596900" cy="517525"/>
          </a:xfrm>
          <a:custGeom>
            <a:avLst/>
            <a:gdLst>
              <a:gd name="T0" fmla="*/ 376 w 376"/>
              <a:gd name="T1" fmla="*/ 100 h 326"/>
              <a:gd name="T2" fmla="*/ 376 w 376"/>
              <a:gd name="T3" fmla="*/ 100 h 326"/>
              <a:gd name="T4" fmla="*/ 374 w 376"/>
              <a:gd name="T5" fmla="*/ 80 h 326"/>
              <a:gd name="T6" fmla="*/ 368 w 376"/>
              <a:gd name="T7" fmla="*/ 62 h 326"/>
              <a:gd name="T8" fmla="*/ 358 w 376"/>
              <a:gd name="T9" fmla="*/ 44 h 326"/>
              <a:gd name="T10" fmla="*/ 346 w 376"/>
              <a:gd name="T11" fmla="*/ 30 h 326"/>
              <a:gd name="T12" fmla="*/ 331 w 376"/>
              <a:gd name="T13" fmla="*/ 18 h 326"/>
              <a:gd name="T14" fmla="*/ 315 w 376"/>
              <a:gd name="T15" fmla="*/ 8 h 326"/>
              <a:gd name="T16" fmla="*/ 295 w 376"/>
              <a:gd name="T17" fmla="*/ 2 h 326"/>
              <a:gd name="T18" fmla="*/ 275 w 376"/>
              <a:gd name="T19" fmla="*/ 0 h 326"/>
              <a:gd name="T20" fmla="*/ 275 w 376"/>
              <a:gd name="T21" fmla="*/ 0 h 326"/>
              <a:gd name="T22" fmla="*/ 261 w 376"/>
              <a:gd name="T23" fmla="*/ 2 h 326"/>
              <a:gd name="T24" fmla="*/ 249 w 376"/>
              <a:gd name="T25" fmla="*/ 4 h 326"/>
              <a:gd name="T26" fmla="*/ 236 w 376"/>
              <a:gd name="T27" fmla="*/ 8 h 326"/>
              <a:gd name="T28" fmla="*/ 224 w 376"/>
              <a:gd name="T29" fmla="*/ 14 h 326"/>
              <a:gd name="T30" fmla="*/ 214 w 376"/>
              <a:gd name="T31" fmla="*/ 22 h 326"/>
              <a:gd name="T32" fmla="*/ 204 w 376"/>
              <a:gd name="T33" fmla="*/ 30 h 326"/>
              <a:gd name="T34" fmla="*/ 196 w 376"/>
              <a:gd name="T35" fmla="*/ 40 h 326"/>
              <a:gd name="T36" fmla="*/ 188 w 376"/>
              <a:gd name="T37" fmla="*/ 52 h 326"/>
              <a:gd name="T38" fmla="*/ 188 w 376"/>
              <a:gd name="T39" fmla="*/ 52 h 326"/>
              <a:gd name="T40" fmla="*/ 180 w 376"/>
              <a:gd name="T41" fmla="*/ 40 h 326"/>
              <a:gd name="T42" fmla="*/ 172 w 376"/>
              <a:gd name="T43" fmla="*/ 30 h 326"/>
              <a:gd name="T44" fmla="*/ 162 w 376"/>
              <a:gd name="T45" fmla="*/ 22 h 326"/>
              <a:gd name="T46" fmla="*/ 152 w 376"/>
              <a:gd name="T47" fmla="*/ 14 h 326"/>
              <a:gd name="T48" fmla="*/ 140 w 376"/>
              <a:gd name="T49" fmla="*/ 8 h 326"/>
              <a:gd name="T50" fmla="*/ 127 w 376"/>
              <a:gd name="T51" fmla="*/ 4 h 326"/>
              <a:gd name="T52" fmla="*/ 115 w 376"/>
              <a:gd name="T53" fmla="*/ 2 h 326"/>
              <a:gd name="T54" fmla="*/ 101 w 376"/>
              <a:gd name="T55" fmla="*/ 0 h 326"/>
              <a:gd name="T56" fmla="*/ 101 w 376"/>
              <a:gd name="T57" fmla="*/ 0 h 326"/>
              <a:gd name="T58" fmla="*/ 81 w 376"/>
              <a:gd name="T59" fmla="*/ 2 h 326"/>
              <a:gd name="T60" fmla="*/ 61 w 376"/>
              <a:gd name="T61" fmla="*/ 8 h 326"/>
              <a:gd name="T62" fmla="*/ 45 w 376"/>
              <a:gd name="T63" fmla="*/ 18 h 326"/>
              <a:gd name="T64" fmla="*/ 30 w 376"/>
              <a:gd name="T65" fmla="*/ 30 h 326"/>
              <a:gd name="T66" fmla="*/ 18 w 376"/>
              <a:gd name="T67" fmla="*/ 44 h 326"/>
              <a:gd name="T68" fmla="*/ 8 w 376"/>
              <a:gd name="T69" fmla="*/ 62 h 326"/>
              <a:gd name="T70" fmla="*/ 2 w 376"/>
              <a:gd name="T71" fmla="*/ 80 h 326"/>
              <a:gd name="T72" fmla="*/ 0 w 376"/>
              <a:gd name="T73" fmla="*/ 100 h 326"/>
              <a:gd name="T74" fmla="*/ 0 w 376"/>
              <a:gd name="T75" fmla="*/ 100 h 326"/>
              <a:gd name="T76" fmla="*/ 2 w 376"/>
              <a:gd name="T77" fmla="*/ 120 h 326"/>
              <a:gd name="T78" fmla="*/ 8 w 376"/>
              <a:gd name="T79" fmla="*/ 140 h 326"/>
              <a:gd name="T80" fmla="*/ 18 w 376"/>
              <a:gd name="T81" fmla="*/ 156 h 326"/>
              <a:gd name="T82" fmla="*/ 30 w 376"/>
              <a:gd name="T83" fmla="*/ 170 h 326"/>
              <a:gd name="T84" fmla="*/ 188 w 376"/>
              <a:gd name="T85" fmla="*/ 326 h 326"/>
              <a:gd name="T86" fmla="*/ 188 w 376"/>
              <a:gd name="T87" fmla="*/ 326 h 326"/>
              <a:gd name="T88" fmla="*/ 346 w 376"/>
              <a:gd name="T89" fmla="*/ 170 h 326"/>
              <a:gd name="T90" fmla="*/ 346 w 376"/>
              <a:gd name="T91" fmla="*/ 170 h 326"/>
              <a:gd name="T92" fmla="*/ 358 w 376"/>
              <a:gd name="T93" fmla="*/ 156 h 326"/>
              <a:gd name="T94" fmla="*/ 368 w 376"/>
              <a:gd name="T95" fmla="*/ 138 h 326"/>
              <a:gd name="T96" fmla="*/ 374 w 376"/>
              <a:gd name="T97" fmla="*/ 120 h 326"/>
              <a:gd name="T98" fmla="*/ 376 w 376"/>
              <a:gd name="T99" fmla="*/ 100 h 326"/>
              <a:gd name="T100" fmla="*/ 376 w 376"/>
              <a:gd name="T101" fmla="*/ 100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76" h="326">
                <a:moveTo>
                  <a:pt x="376" y="100"/>
                </a:moveTo>
                <a:lnTo>
                  <a:pt x="376" y="100"/>
                </a:lnTo>
                <a:lnTo>
                  <a:pt x="374" y="80"/>
                </a:lnTo>
                <a:lnTo>
                  <a:pt x="368" y="62"/>
                </a:lnTo>
                <a:lnTo>
                  <a:pt x="358" y="44"/>
                </a:lnTo>
                <a:lnTo>
                  <a:pt x="346" y="30"/>
                </a:lnTo>
                <a:lnTo>
                  <a:pt x="331" y="18"/>
                </a:lnTo>
                <a:lnTo>
                  <a:pt x="315" y="8"/>
                </a:lnTo>
                <a:lnTo>
                  <a:pt x="295" y="2"/>
                </a:lnTo>
                <a:lnTo>
                  <a:pt x="275" y="0"/>
                </a:lnTo>
                <a:lnTo>
                  <a:pt x="275" y="0"/>
                </a:lnTo>
                <a:lnTo>
                  <a:pt x="261" y="2"/>
                </a:lnTo>
                <a:lnTo>
                  <a:pt x="249" y="4"/>
                </a:lnTo>
                <a:lnTo>
                  <a:pt x="236" y="8"/>
                </a:lnTo>
                <a:lnTo>
                  <a:pt x="224" y="14"/>
                </a:lnTo>
                <a:lnTo>
                  <a:pt x="214" y="22"/>
                </a:lnTo>
                <a:lnTo>
                  <a:pt x="204" y="30"/>
                </a:lnTo>
                <a:lnTo>
                  <a:pt x="196" y="40"/>
                </a:lnTo>
                <a:lnTo>
                  <a:pt x="188" y="52"/>
                </a:lnTo>
                <a:lnTo>
                  <a:pt x="188" y="52"/>
                </a:lnTo>
                <a:lnTo>
                  <a:pt x="180" y="40"/>
                </a:lnTo>
                <a:lnTo>
                  <a:pt x="172" y="30"/>
                </a:lnTo>
                <a:lnTo>
                  <a:pt x="162" y="22"/>
                </a:lnTo>
                <a:lnTo>
                  <a:pt x="152" y="14"/>
                </a:lnTo>
                <a:lnTo>
                  <a:pt x="140" y="8"/>
                </a:lnTo>
                <a:lnTo>
                  <a:pt x="127" y="4"/>
                </a:lnTo>
                <a:lnTo>
                  <a:pt x="115" y="2"/>
                </a:lnTo>
                <a:lnTo>
                  <a:pt x="101" y="0"/>
                </a:lnTo>
                <a:lnTo>
                  <a:pt x="101" y="0"/>
                </a:lnTo>
                <a:lnTo>
                  <a:pt x="81" y="2"/>
                </a:lnTo>
                <a:lnTo>
                  <a:pt x="61" y="8"/>
                </a:lnTo>
                <a:lnTo>
                  <a:pt x="45" y="18"/>
                </a:lnTo>
                <a:lnTo>
                  <a:pt x="30" y="30"/>
                </a:lnTo>
                <a:lnTo>
                  <a:pt x="18" y="44"/>
                </a:lnTo>
                <a:lnTo>
                  <a:pt x="8" y="62"/>
                </a:lnTo>
                <a:lnTo>
                  <a:pt x="2" y="80"/>
                </a:lnTo>
                <a:lnTo>
                  <a:pt x="0" y="100"/>
                </a:lnTo>
                <a:lnTo>
                  <a:pt x="0" y="100"/>
                </a:lnTo>
                <a:lnTo>
                  <a:pt x="2" y="120"/>
                </a:lnTo>
                <a:lnTo>
                  <a:pt x="8" y="140"/>
                </a:lnTo>
                <a:lnTo>
                  <a:pt x="18" y="156"/>
                </a:lnTo>
                <a:lnTo>
                  <a:pt x="30" y="170"/>
                </a:lnTo>
                <a:lnTo>
                  <a:pt x="188" y="326"/>
                </a:lnTo>
                <a:lnTo>
                  <a:pt x="188" y="326"/>
                </a:lnTo>
                <a:lnTo>
                  <a:pt x="346" y="170"/>
                </a:lnTo>
                <a:lnTo>
                  <a:pt x="346" y="170"/>
                </a:lnTo>
                <a:lnTo>
                  <a:pt x="358" y="156"/>
                </a:lnTo>
                <a:lnTo>
                  <a:pt x="368" y="138"/>
                </a:lnTo>
                <a:lnTo>
                  <a:pt x="374" y="120"/>
                </a:lnTo>
                <a:lnTo>
                  <a:pt x="376" y="100"/>
                </a:lnTo>
                <a:lnTo>
                  <a:pt x="376" y="100"/>
                </a:lnTo>
                <a:close/>
              </a:path>
            </a:pathLst>
          </a:custGeom>
          <a:noFill/>
          <a:ln w="28575">
            <a:solidFill>
              <a:schemeClr val="bg2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6" name="Groupe 65">
            <a:extLst>
              <a:ext uri="{FF2B5EF4-FFF2-40B4-BE49-F238E27FC236}">
                <a16:creationId xmlns:a16="http://schemas.microsoft.com/office/drawing/2014/main" id="{D21E46F3-764C-4DE2-B961-4EBB7CB157B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01098" y="4474547"/>
            <a:ext cx="760413" cy="762000"/>
            <a:chOff x="8378825" y="4024313"/>
            <a:chExt cx="760413" cy="762000"/>
          </a:xfrm>
        </p:grpSpPr>
        <p:sp>
          <p:nvSpPr>
            <p:cNvPr id="67" name="Freeform 1106">
              <a:extLst>
                <a:ext uri="{FF2B5EF4-FFF2-40B4-BE49-F238E27FC236}">
                  <a16:creationId xmlns:a16="http://schemas.microsoft.com/office/drawing/2014/main" id="{76429FA6-6C21-4307-894D-9F9B2B807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2825" y="4279901"/>
              <a:ext cx="255588" cy="250825"/>
            </a:xfrm>
            <a:custGeom>
              <a:avLst/>
              <a:gdLst>
                <a:gd name="T0" fmla="*/ 161 w 161"/>
                <a:gd name="T1" fmla="*/ 78 h 158"/>
                <a:gd name="T2" fmla="*/ 161 w 161"/>
                <a:gd name="T3" fmla="*/ 78 h 158"/>
                <a:gd name="T4" fmla="*/ 159 w 161"/>
                <a:gd name="T5" fmla="*/ 94 h 158"/>
                <a:gd name="T6" fmla="*/ 155 w 161"/>
                <a:gd name="T7" fmla="*/ 110 h 158"/>
                <a:gd name="T8" fmla="*/ 147 w 161"/>
                <a:gd name="T9" fmla="*/ 124 h 158"/>
                <a:gd name="T10" fmla="*/ 137 w 161"/>
                <a:gd name="T11" fmla="*/ 136 h 158"/>
                <a:gd name="T12" fmla="*/ 125 w 161"/>
                <a:gd name="T13" fmla="*/ 144 h 158"/>
                <a:gd name="T14" fmla="*/ 111 w 161"/>
                <a:gd name="T15" fmla="*/ 152 h 158"/>
                <a:gd name="T16" fmla="*/ 97 w 161"/>
                <a:gd name="T17" fmla="*/ 156 h 158"/>
                <a:gd name="T18" fmla="*/ 81 w 161"/>
                <a:gd name="T19" fmla="*/ 158 h 158"/>
                <a:gd name="T20" fmla="*/ 81 w 161"/>
                <a:gd name="T21" fmla="*/ 158 h 158"/>
                <a:gd name="T22" fmla="*/ 64 w 161"/>
                <a:gd name="T23" fmla="*/ 156 h 158"/>
                <a:gd name="T24" fmla="*/ 48 w 161"/>
                <a:gd name="T25" fmla="*/ 152 h 158"/>
                <a:gd name="T26" fmla="*/ 36 w 161"/>
                <a:gd name="T27" fmla="*/ 144 h 158"/>
                <a:gd name="T28" fmla="*/ 24 w 161"/>
                <a:gd name="T29" fmla="*/ 136 h 158"/>
                <a:gd name="T30" fmla="*/ 14 w 161"/>
                <a:gd name="T31" fmla="*/ 124 h 158"/>
                <a:gd name="T32" fmla="*/ 6 w 161"/>
                <a:gd name="T33" fmla="*/ 110 h 158"/>
                <a:gd name="T34" fmla="*/ 2 w 161"/>
                <a:gd name="T35" fmla="*/ 94 h 158"/>
                <a:gd name="T36" fmla="*/ 0 w 161"/>
                <a:gd name="T37" fmla="*/ 78 h 158"/>
                <a:gd name="T38" fmla="*/ 0 w 161"/>
                <a:gd name="T39" fmla="*/ 78 h 158"/>
                <a:gd name="T40" fmla="*/ 2 w 161"/>
                <a:gd name="T41" fmla="*/ 62 h 158"/>
                <a:gd name="T42" fmla="*/ 6 w 161"/>
                <a:gd name="T43" fmla="*/ 48 h 158"/>
                <a:gd name="T44" fmla="*/ 14 w 161"/>
                <a:gd name="T45" fmla="*/ 34 h 158"/>
                <a:gd name="T46" fmla="*/ 24 w 161"/>
                <a:gd name="T47" fmla="*/ 22 h 158"/>
                <a:gd name="T48" fmla="*/ 36 w 161"/>
                <a:gd name="T49" fmla="*/ 12 h 158"/>
                <a:gd name="T50" fmla="*/ 48 w 161"/>
                <a:gd name="T51" fmla="*/ 6 h 158"/>
                <a:gd name="T52" fmla="*/ 64 w 161"/>
                <a:gd name="T53" fmla="*/ 0 h 158"/>
                <a:gd name="T54" fmla="*/ 81 w 161"/>
                <a:gd name="T55" fmla="*/ 0 h 158"/>
                <a:gd name="T56" fmla="*/ 81 w 161"/>
                <a:gd name="T57" fmla="*/ 0 h 158"/>
                <a:gd name="T58" fmla="*/ 97 w 161"/>
                <a:gd name="T59" fmla="*/ 0 h 158"/>
                <a:gd name="T60" fmla="*/ 111 w 161"/>
                <a:gd name="T61" fmla="*/ 6 h 158"/>
                <a:gd name="T62" fmla="*/ 125 w 161"/>
                <a:gd name="T63" fmla="*/ 12 h 158"/>
                <a:gd name="T64" fmla="*/ 137 w 161"/>
                <a:gd name="T65" fmla="*/ 22 h 158"/>
                <a:gd name="T66" fmla="*/ 147 w 161"/>
                <a:gd name="T67" fmla="*/ 34 h 158"/>
                <a:gd name="T68" fmla="*/ 155 w 161"/>
                <a:gd name="T69" fmla="*/ 48 h 158"/>
                <a:gd name="T70" fmla="*/ 159 w 161"/>
                <a:gd name="T71" fmla="*/ 62 h 158"/>
                <a:gd name="T72" fmla="*/ 161 w 161"/>
                <a:gd name="T73" fmla="*/ 78 h 158"/>
                <a:gd name="T74" fmla="*/ 161 w 161"/>
                <a:gd name="T75" fmla="*/ 7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158">
                  <a:moveTo>
                    <a:pt x="161" y="78"/>
                  </a:moveTo>
                  <a:lnTo>
                    <a:pt x="161" y="78"/>
                  </a:lnTo>
                  <a:lnTo>
                    <a:pt x="159" y="94"/>
                  </a:lnTo>
                  <a:lnTo>
                    <a:pt x="155" y="110"/>
                  </a:lnTo>
                  <a:lnTo>
                    <a:pt x="147" y="124"/>
                  </a:lnTo>
                  <a:lnTo>
                    <a:pt x="137" y="136"/>
                  </a:lnTo>
                  <a:lnTo>
                    <a:pt x="125" y="144"/>
                  </a:lnTo>
                  <a:lnTo>
                    <a:pt x="111" y="152"/>
                  </a:lnTo>
                  <a:lnTo>
                    <a:pt x="97" y="156"/>
                  </a:lnTo>
                  <a:lnTo>
                    <a:pt x="81" y="158"/>
                  </a:lnTo>
                  <a:lnTo>
                    <a:pt x="81" y="158"/>
                  </a:lnTo>
                  <a:lnTo>
                    <a:pt x="64" y="156"/>
                  </a:lnTo>
                  <a:lnTo>
                    <a:pt x="48" y="152"/>
                  </a:lnTo>
                  <a:lnTo>
                    <a:pt x="36" y="144"/>
                  </a:lnTo>
                  <a:lnTo>
                    <a:pt x="24" y="136"/>
                  </a:lnTo>
                  <a:lnTo>
                    <a:pt x="14" y="124"/>
                  </a:lnTo>
                  <a:lnTo>
                    <a:pt x="6" y="110"/>
                  </a:lnTo>
                  <a:lnTo>
                    <a:pt x="2" y="9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62"/>
                  </a:lnTo>
                  <a:lnTo>
                    <a:pt x="6" y="48"/>
                  </a:lnTo>
                  <a:lnTo>
                    <a:pt x="14" y="34"/>
                  </a:lnTo>
                  <a:lnTo>
                    <a:pt x="24" y="22"/>
                  </a:lnTo>
                  <a:lnTo>
                    <a:pt x="36" y="12"/>
                  </a:lnTo>
                  <a:lnTo>
                    <a:pt x="48" y="6"/>
                  </a:lnTo>
                  <a:lnTo>
                    <a:pt x="64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97" y="0"/>
                  </a:lnTo>
                  <a:lnTo>
                    <a:pt x="111" y="6"/>
                  </a:lnTo>
                  <a:lnTo>
                    <a:pt x="125" y="12"/>
                  </a:lnTo>
                  <a:lnTo>
                    <a:pt x="137" y="22"/>
                  </a:lnTo>
                  <a:lnTo>
                    <a:pt x="147" y="34"/>
                  </a:lnTo>
                  <a:lnTo>
                    <a:pt x="155" y="48"/>
                  </a:lnTo>
                  <a:lnTo>
                    <a:pt x="159" y="62"/>
                  </a:lnTo>
                  <a:lnTo>
                    <a:pt x="161" y="78"/>
                  </a:lnTo>
                  <a:lnTo>
                    <a:pt x="161" y="78"/>
                  </a:lnTo>
                  <a:close/>
                </a:path>
              </a:pathLst>
            </a:custGeom>
            <a:noFill/>
            <a:ln w="19050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107">
              <a:extLst>
                <a:ext uri="{FF2B5EF4-FFF2-40B4-BE49-F238E27FC236}">
                  <a16:creationId xmlns:a16="http://schemas.microsoft.com/office/drawing/2014/main" id="{BC2D62A3-CF7B-4885-AB85-FEFF05776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5825" y="4151313"/>
              <a:ext cx="506413" cy="508000"/>
            </a:xfrm>
            <a:custGeom>
              <a:avLst/>
              <a:gdLst>
                <a:gd name="T0" fmla="*/ 319 w 319"/>
                <a:gd name="T1" fmla="*/ 159 h 320"/>
                <a:gd name="T2" fmla="*/ 317 w 319"/>
                <a:gd name="T3" fmla="*/ 193 h 320"/>
                <a:gd name="T4" fmla="*/ 307 w 319"/>
                <a:gd name="T5" fmla="*/ 221 h 320"/>
                <a:gd name="T6" fmla="*/ 293 w 319"/>
                <a:gd name="T7" fmla="*/ 249 h 320"/>
                <a:gd name="T8" fmla="*/ 273 w 319"/>
                <a:gd name="T9" fmla="*/ 273 h 320"/>
                <a:gd name="T10" fmla="*/ 249 w 319"/>
                <a:gd name="T11" fmla="*/ 292 h 320"/>
                <a:gd name="T12" fmla="*/ 223 w 319"/>
                <a:gd name="T13" fmla="*/ 308 h 320"/>
                <a:gd name="T14" fmla="*/ 193 w 319"/>
                <a:gd name="T15" fmla="*/ 316 h 320"/>
                <a:gd name="T16" fmla="*/ 161 w 319"/>
                <a:gd name="T17" fmla="*/ 320 h 320"/>
                <a:gd name="T18" fmla="*/ 144 w 319"/>
                <a:gd name="T19" fmla="*/ 320 h 320"/>
                <a:gd name="T20" fmla="*/ 112 w 319"/>
                <a:gd name="T21" fmla="*/ 314 h 320"/>
                <a:gd name="T22" fmla="*/ 84 w 319"/>
                <a:gd name="T23" fmla="*/ 300 h 320"/>
                <a:gd name="T24" fmla="*/ 58 w 319"/>
                <a:gd name="T25" fmla="*/ 284 h 320"/>
                <a:gd name="T26" fmla="*/ 36 w 319"/>
                <a:gd name="T27" fmla="*/ 261 h 320"/>
                <a:gd name="T28" fmla="*/ 20 w 319"/>
                <a:gd name="T29" fmla="*/ 235 h 320"/>
                <a:gd name="T30" fmla="*/ 8 w 319"/>
                <a:gd name="T31" fmla="*/ 207 h 320"/>
                <a:gd name="T32" fmla="*/ 2 w 319"/>
                <a:gd name="T33" fmla="*/ 177 h 320"/>
                <a:gd name="T34" fmla="*/ 0 w 319"/>
                <a:gd name="T35" fmla="*/ 159 h 320"/>
                <a:gd name="T36" fmla="*/ 4 w 319"/>
                <a:gd name="T37" fmla="*/ 127 h 320"/>
                <a:gd name="T38" fmla="*/ 12 w 319"/>
                <a:gd name="T39" fmla="*/ 97 h 320"/>
                <a:gd name="T40" fmla="*/ 28 w 319"/>
                <a:gd name="T41" fmla="*/ 71 h 320"/>
                <a:gd name="T42" fmla="*/ 48 w 319"/>
                <a:gd name="T43" fmla="*/ 47 h 320"/>
                <a:gd name="T44" fmla="*/ 70 w 319"/>
                <a:gd name="T45" fmla="*/ 26 h 320"/>
                <a:gd name="T46" fmla="*/ 98 w 319"/>
                <a:gd name="T47" fmla="*/ 12 h 320"/>
                <a:gd name="T48" fmla="*/ 128 w 319"/>
                <a:gd name="T49" fmla="*/ 2 h 320"/>
                <a:gd name="T50" fmla="*/ 161 w 319"/>
                <a:gd name="T51" fmla="*/ 0 h 320"/>
                <a:gd name="T52" fmla="*/ 177 w 319"/>
                <a:gd name="T53" fmla="*/ 0 h 320"/>
                <a:gd name="T54" fmla="*/ 209 w 319"/>
                <a:gd name="T55" fmla="*/ 6 h 320"/>
                <a:gd name="T56" fmla="*/ 237 w 319"/>
                <a:gd name="T57" fmla="*/ 18 h 320"/>
                <a:gd name="T58" fmla="*/ 263 w 319"/>
                <a:gd name="T59" fmla="*/ 36 h 320"/>
                <a:gd name="T60" fmla="*/ 283 w 319"/>
                <a:gd name="T61" fmla="*/ 59 h 320"/>
                <a:gd name="T62" fmla="*/ 301 w 319"/>
                <a:gd name="T63" fmla="*/ 85 h 320"/>
                <a:gd name="T64" fmla="*/ 313 w 319"/>
                <a:gd name="T65" fmla="*/ 113 h 320"/>
                <a:gd name="T66" fmla="*/ 319 w 319"/>
                <a:gd name="T67" fmla="*/ 143 h 320"/>
                <a:gd name="T68" fmla="*/ 319 w 319"/>
                <a:gd name="T69" fmla="*/ 15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9" h="320">
                  <a:moveTo>
                    <a:pt x="319" y="159"/>
                  </a:moveTo>
                  <a:lnTo>
                    <a:pt x="319" y="159"/>
                  </a:lnTo>
                  <a:lnTo>
                    <a:pt x="319" y="177"/>
                  </a:lnTo>
                  <a:lnTo>
                    <a:pt x="317" y="193"/>
                  </a:lnTo>
                  <a:lnTo>
                    <a:pt x="313" y="207"/>
                  </a:lnTo>
                  <a:lnTo>
                    <a:pt x="307" y="221"/>
                  </a:lnTo>
                  <a:lnTo>
                    <a:pt x="301" y="235"/>
                  </a:lnTo>
                  <a:lnTo>
                    <a:pt x="293" y="249"/>
                  </a:lnTo>
                  <a:lnTo>
                    <a:pt x="283" y="261"/>
                  </a:lnTo>
                  <a:lnTo>
                    <a:pt x="273" y="273"/>
                  </a:lnTo>
                  <a:lnTo>
                    <a:pt x="263" y="284"/>
                  </a:lnTo>
                  <a:lnTo>
                    <a:pt x="249" y="292"/>
                  </a:lnTo>
                  <a:lnTo>
                    <a:pt x="237" y="300"/>
                  </a:lnTo>
                  <a:lnTo>
                    <a:pt x="223" y="308"/>
                  </a:lnTo>
                  <a:lnTo>
                    <a:pt x="209" y="314"/>
                  </a:lnTo>
                  <a:lnTo>
                    <a:pt x="193" y="316"/>
                  </a:lnTo>
                  <a:lnTo>
                    <a:pt x="177" y="320"/>
                  </a:lnTo>
                  <a:lnTo>
                    <a:pt x="161" y="320"/>
                  </a:lnTo>
                  <a:lnTo>
                    <a:pt x="161" y="320"/>
                  </a:lnTo>
                  <a:lnTo>
                    <a:pt x="144" y="320"/>
                  </a:lnTo>
                  <a:lnTo>
                    <a:pt x="128" y="316"/>
                  </a:lnTo>
                  <a:lnTo>
                    <a:pt x="112" y="314"/>
                  </a:lnTo>
                  <a:lnTo>
                    <a:pt x="98" y="308"/>
                  </a:lnTo>
                  <a:lnTo>
                    <a:pt x="84" y="300"/>
                  </a:lnTo>
                  <a:lnTo>
                    <a:pt x="70" y="292"/>
                  </a:lnTo>
                  <a:lnTo>
                    <a:pt x="58" y="284"/>
                  </a:lnTo>
                  <a:lnTo>
                    <a:pt x="48" y="273"/>
                  </a:lnTo>
                  <a:lnTo>
                    <a:pt x="36" y="261"/>
                  </a:lnTo>
                  <a:lnTo>
                    <a:pt x="28" y="249"/>
                  </a:lnTo>
                  <a:lnTo>
                    <a:pt x="20" y="235"/>
                  </a:lnTo>
                  <a:lnTo>
                    <a:pt x="12" y="221"/>
                  </a:lnTo>
                  <a:lnTo>
                    <a:pt x="8" y="207"/>
                  </a:lnTo>
                  <a:lnTo>
                    <a:pt x="4" y="193"/>
                  </a:lnTo>
                  <a:lnTo>
                    <a:pt x="2" y="177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2" y="143"/>
                  </a:lnTo>
                  <a:lnTo>
                    <a:pt x="4" y="127"/>
                  </a:lnTo>
                  <a:lnTo>
                    <a:pt x="8" y="113"/>
                  </a:lnTo>
                  <a:lnTo>
                    <a:pt x="12" y="97"/>
                  </a:lnTo>
                  <a:lnTo>
                    <a:pt x="20" y="85"/>
                  </a:lnTo>
                  <a:lnTo>
                    <a:pt x="28" y="71"/>
                  </a:lnTo>
                  <a:lnTo>
                    <a:pt x="36" y="59"/>
                  </a:lnTo>
                  <a:lnTo>
                    <a:pt x="48" y="47"/>
                  </a:lnTo>
                  <a:lnTo>
                    <a:pt x="58" y="36"/>
                  </a:lnTo>
                  <a:lnTo>
                    <a:pt x="70" y="26"/>
                  </a:lnTo>
                  <a:lnTo>
                    <a:pt x="84" y="18"/>
                  </a:lnTo>
                  <a:lnTo>
                    <a:pt x="98" y="12"/>
                  </a:lnTo>
                  <a:lnTo>
                    <a:pt x="112" y="6"/>
                  </a:lnTo>
                  <a:lnTo>
                    <a:pt x="128" y="2"/>
                  </a:lnTo>
                  <a:lnTo>
                    <a:pt x="144" y="0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177" y="0"/>
                  </a:lnTo>
                  <a:lnTo>
                    <a:pt x="193" y="2"/>
                  </a:lnTo>
                  <a:lnTo>
                    <a:pt x="209" y="6"/>
                  </a:lnTo>
                  <a:lnTo>
                    <a:pt x="223" y="12"/>
                  </a:lnTo>
                  <a:lnTo>
                    <a:pt x="237" y="18"/>
                  </a:lnTo>
                  <a:lnTo>
                    <a:pt x="249" y="26"/>
                  </a:lnTo>
                  <a:lnTo>
                    <a:pt x="263" y="36"/>
                  </a:lnTo>
                  <a:lnTo>
                    <a:pt x="273" y="47"/>
                  </a:lnTo>
                  <a:lnTo>
                    <a:pt x="283" y="59"/>
                  </a:lnTo>
                  <a:lnTo>
                    <a:pt x="293" y="71"/>
                  </a:lnTo>
                  <a:lnTo>
                    <a:pt x="301" y="85"/>
                  </a:lnTo>
                  <a:lnTo>
                    <a:pt x="307" y="97"/>
                  </a:lnTo>
                  <a:lnTo>
                    <a:pt x="313" y="113"/>
                  </a:lnTo>
                  <a:lnTo>
                    <a:pt x="317" y="127"/>
                  </a:lnTo>
                  <a:lnTo>
                    <a:pt x="319" y="143"/>
                  </a:lnTo>
                  <a:lnTo>
                    <a:pt x="319" y="159"/>
                  </a:lnTo>
                  <a:lnTo>
                    <a:pt x="319" y="159"/>
                  </a:lnTo>
                  <a:close/>
                </a:path>
              </a:pathLst>
            </a:custGeom>
            <a:noFill/>
            <a:ln w="19050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Line 1108">
              <a:extLst>
                <a:ext uri="{FF2B5EF4-FFF2-40B4-BE49-F238E27FC236}">
                  <a16:creationId xmlns:a16="http://schemas.microsoft.com/office/drawing/2014/main" id="{00238295-0C1C-499E-AF79-199A46F6DA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61413" y="4024313"/>
              <a:ext cx="0" cy="127000"/>
            </a:xfrm>
            <a:prstGeom prst="lin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Line 1109">
              <a:extLst>
                <a:ext uri="{FF2B5EF4-FFF2-40B4-BE49-F238E27FC236}">
                  <a16:creationId xmlns:a16="http://schemas.microsoft.com/office/drawing/2014/main" id="{3B655082-7FE7-4221-8B00-E8347DEE4C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12238" y="4403726"/>
              <a:ext cx="127000" cy="0"/>
            </a:xfrm>
            <a:prstGeom prst="lin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Line 1110">
              <a:extLst>
                <a:ext uri="{FF2B5EF4-FFF2-40B4-BE49-F238E27FC236}">
                  <a16:creationId xmlns:a16="http://schemas.microsoft.com/office/drawing/2014/main" id="{50B91809-2239-4676-90A2-3AF3C16CB94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61413" y="4659313"/>
              <a:ext cx="0" cy="127000"/>
            </a:xfrm>
            <a:prstGeom prst="lin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Line 1111">
              <a:extLst>
                <a:ext uri="{FF2B5EF4-FFF2-40B4-BE49-F238E27FC236}">
                  <a16:creationId xmlns:a16="http://schemas.microsoft.com/office/drawing/2014/main" id="{721927C4-2C7E-4DEA-B1F5-AB74C9CE082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378825" y="4403726"/>
              <a:ext cx="127000" cy="0"/>
            </a:xfrm>
            <a:prstGeom prst="lin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3" name="Groupe 72">
            <a:extLst>
              <a:ext uri="{FF2B5EF4-FFF2-40B4-BE49-F238E27FC236}">
                <a16:creationId xmlns:a16="http://schemas.microsoft.com/office/drawing/2014/main" id="{071C303C-2FC4-44C4-B801-0C71FF59C10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88763" y="4488016"/>
            <a:ext cx="565150" cy="571500"/>
            <a:chOff x="8520113" y="3844925"/>
            <a:chExt cx="565150" cy="571500"/>
          </a:xfrm>
        </p:grpSpPr>
        <p:sp>
          <p:nvSpPr>
            <p:cNvPr id="74" name="Rectangle 1115">
              <a:extLst>
                <a:ext uri="{FF2B5EF4-FFF2-40B4-BE49-F238E27FC236}">
                  <a16:creationId xmlns:a16="http://schemas.microsoft.com/office/drawing/2014/main" id="{F2A0D82E-6562-4654-9C6A-0FB9993EE8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0113" y="3908425"/>
              <a:ext cx="558800" cy="508000"/>
            </a:xfrm>
            <a:prstGeom prst="rect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Line 1116">
              <a:extLst>
                <a:ext uri="{FF2B5EF4-FFF2-40B4-BE49-F238E27FC236}">
                  <a16:creationId xmlns:a16="http://schemas.microsoft.com/office/drawing/2014/main" id="{87AC8716-599E-4ECA-8328-FC1822F264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6463" y="4040188"/>
              <a:ext cx="558800" cy="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Line 1117">
              <a:extLst>
                <a:ext uri="{FF2B5EF4-FFF2-40B4-BE49-F238E27FC236}">
                  <a16:creationId xmlns:a16="http://schemas.microsoft.com/office/drawing/2014/main" id="{CC35DE82-7649-410E-8663-D2EFB55C4A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51876" y="3844925"/>
              <a:ext cx="0" cy="11430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Line 1118">
              <a:extLst>
                <a:ext uri="{FF2B5EF4-FFF2-40B4-BE49-F238E27FC236}">
                  <a16:creationId xmlns:a16="http://schemas.microsoft.com/office/drawing/2014/main" id="{6C3173D1-8E11-4E92-9DCB-28B3F727D5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47151" y="3844925"/>
              <a:ext cx="0" cy="114300"/>
            </a:xfrm>
            <a:prstGeom prst="lin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8" name="Freeform 1122">
            <a:extLst>
              <a:ext uri="{FF2B5EF4-FFF2-40B4-BE49-F238E27FC236}">
                <a16:creationId xmlns:a16="http://schemas.microsoft.com/office/drawing/2014/main" id="{302F9710-11FA-47C5-B37B-974AFD488B5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6774776" y="4500716"/>
            <a:ext cx="609600" cy="609600"/>
          </a:xfrm>
          <a:custGeom>
            <a:avLst/>
            <a:gdLst>
              <a:gd name="T0" fmla="*/ 384 w 384"/>
              <a:gd name="T1" fmla="*/ 281 h 384"/>
              <a:gd name="T2" fmla="*/ 162 w 384"/>
              <a:gd name="T3" fmla="*/ 281 h 384"/>
              <a:gd name="T4" fmla="*/ 61 w 384"/>
              <a:gd name="T5" fmla="*/ 384 h 384"/>
              <a:gd name="T6" fmla="*/ 61 w 384"/>
              <a:gd name="T7" fmla="*/ 281 h 384"/>
              <a:gd name="T8" fmla="*/ 0 w 384"/>
              <a:gd name="T9" fmla="*/ 281 h 384"/>
              <a:gd name="T10" fmla="*/ 0 w 384"/>
              <a:gd name="T11" fmla="*/ 0 h 384"/>
              <a:gd name="T12" fmla="*/ 384 w 384"/>
              <a:gd name="T13" fmla="*/ 0 h 384"/>
              <a:gd name="T14" fmla="*/ 384 w 384"/>
              <a:gd name="T15" fmla="*/ 281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4" h="384">
                <a:moveTo>
                  <a:pt x="384" y="281"/>
                </a:moveTo>
                <a:lnTo>
                  <a:pt x="162" y="281"/>
                </a:lnTo>
                <a:lnTo>
                  <a:pt x="61" y="384"/>
                </a:lnTo>
                <a:lnTo>
                  <a:pt x="61" y="281"/>
                </a:lnTo>
                <a:lnTo>
                  <a:pt x="0" y="281"/>
                </a:lnTo>
                <a:lnTo>
                  <a:pt x="0" y="0"/>
                </a:lnTo>
                <a:lnTo>
                  <a:pt x="384" y="0"/>
                </a:lnTo>
                <a:lnTo>
                  <a:pt x="384" y="281"/>
                </a:lnTo>
                <a:close/>
              </a:path>
            </a:pathLst>
          </a:custGeom>
          <a:noFill/>
          <a:ln w="28575">
            <a:solidFill>
              <a:schemeClr val="bg2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9" name="Titre 1">
            <a:extLst>
              <a:ext uri="{FF2B5EF4-FFF2-40B4-BE49-F238E27FC236}">
                <a16:creationId xmlns:a16="http://schemas.microsoft.com/office/drawing/2014/main" id="{3B339538-818C-4381-AD93-4B1473D26B56}"/>
              </a:ext>
            </a:extLst>
          </p:cNvPr>
          <p:cNvSpPr txBox="1">
            <a:spLocks/>
          </p:cNvSpPr>
          <p:nvPr userDrawn="1"/>
        </p:nvSpPr>
        <p:spPr>
          <a:xfrm>
            <a:off x="528484" y="367276"/>
            <a:ext cx="11329219" cy="87507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/>
              <a:t>Réserve</a:t>
            </a:r>
            <a:br>
              <a:rPr lang="fr-FR"/>
            </a:br>
            <a:r>
              <a:rPr lang="fr-FR"/>
              <a:t>de pictogrammes (ne pas utiliser cette slide)</a:t>
            </a:r>
          </a:p>
        </p:txBody>
      </p:sp>
    </p:spTree>
    <p:extLst>
      <p:ext uri="{BB962C8B-B14F-4D97-AF65-F5344CB8AC3E}">
        <p14:creationId xmlns:p14="http://schemas.microsoft.com/office/powerpoint/2010/main" val="14197113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&amp; Contenu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54299" y="1073790"/>
            <a:ext cx="11283407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465871" y="6425700"/>
            <a:ext cx="237600" cy="275898"/>
            <a:chOff x="5862638" y="898525"/>
            <a:chExt cx="4252912" cy="4927601"/>
          </a:xfrm>
        </p:grpSpPr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5862638" y="898525"/>
              <a:ext cx="4252912" cy="4927600"/>
            </a:xfrm>
            <a:custGeom>
              <a:avLst/>
              <a:gdLst/>
              <a:ahLst/>
              <a:cxnLst>
                <a:cxn ang="0">
                  <a:pos x="0" y="777"/>
                </a:cxn>
                <a:cxn ang="0">
                  <a:pos x="1339" y="0"/>
                </a:cxn>
                <a:cxn ang="0">
                  <a:pos x="2679" y="777"/>
                </a:cxn>
                <a:cxn ang="0">
                  <a:pos x="2679" y="2329"/>
                </a:cxn>
                <a:cxn ang="0">
                  <a:pos x="1339" y="3104"/>
                </a:cxn>
                <a:cxn ang="0">
                  <a:pos x="0" y="2329"/>
                </a:cxn>
                <a:cxn ang="0">
                  <a:pos x="0" y="777"/>
                </a:cxn>
              </a:cxnLst>
              <a:rect l="0" t="0" r="r" b="b"/>
              <a:pathLst>
                <a:path w="2679" h="3104">
                  <a:moveTo>
                    <a:pt x="0" y="777"/>
                  </a:moveTo>
                  <a:lnTo>
                    <a:pt x="1339" y="0"/>
                  </a:lnTo>
                  <a:lnTo>
                    <a:pt x="2679" y="777"/>
                  </a:lnTo>
                  <a:lnTo>
                    <a:pt x="2679" y="2329"/>
                  </a:lnTo>
                  <a:lnTo>
                    <a:pt x="1339" y="3104"/>
                  </a:lnTo>
                  <a:lnTo>
                    <a:pt x="0" y="2329"/>
                  </a:lnTo>
                  <a:lnTo>
                    <a:pt x="0" y="777"/>
                  </a:lnTo>
                  <a:close/>
                </a:path>
              </a:pathLst>
            </a:custGeom>
            <a:solidFill>
              <a:srgbClr val="003CA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900">
                <a:solidFill>
                  <a:prstClr val="black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5862638" y="2132013"/>
              <a:ext cx="2125662" cy="3694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552"/>
                </a:cxn>
                <a:cxn ang="0">
                  <a:pos x="1339" y="2327"/>
                </a:cxn>
                <a:cxn ang="0">
                  <a:pos x="1339" y="775"/>
                </a:cxn>
                <a:cxn ang="0">
                  <a:pos x="0" y="0"/>
                </a:cxn>
              </a:cxnLst>
              <a:rect l="0" t="0" r="r" b="b"/>
              <a:pathLst>
                <a:path w="1339" h="2327">
                  <a:moveTo>
                    <a:pt x="0" y="0"/>
                  </a:moveTo>
                  <a:lnTo>
                    <a:pt x="0" y="1552"/>
                  </a:lnTo>
                  <a:lnTo>
                    <a:pt x="1339" y="2327"/>
                  </a:lnTo>
                  <a:lnTo>
                    <a:pt x="1339" y="7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5E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900">
                <a:solidFill>
                  <a:prstClr val="black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5862638" y="2132013"/>
              <a:ext cx="2125662" cy="3694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552"/>
                </a:cxn>
                <a:cxn ang="0">
                  <a:pos x="1339" y="2327"/>
                </a:cxn>
                <a:cxn ang="0">
                  <a:pos x="1339" y="775"/>
                </a:cxn>
                <a:cxn ang="0">
                  <a:pos x="0" y="0"/>
                </a:cxn>
              </a:cxnLst>
              <a:rect l="0" t="0" r="r" b="b"/>
              <a:pathLst>
                <a:path w="1339" h="2327">
                  <a:moveTo>
                    <a:pt x="0" y="0"/>
                  </a:moveTo>
                  <a:lnTo>
                    <a:pt x="0" y="1552"/>
                  </a:lnTo>
                  <a:lnTo>
                    <a:pt x="1339" y="2327"/>
                  </a:lnTo>
                  <a:lnTo>
                    <a:pt x="1339" y="775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900">
                <a:solidFill>
                  <a:prstClr val="black"/>
                </a:solidFill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500745" y="6502101"/>
            <a:ext cx="1538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6A895693-0027-4F28-9367-92E39A51F51C}" type="slidenum">
              <a:rPr lang="fr-FR" sz="800">
                <a:solidFill>
                  <a:prstClr val="white"/>
                </a:solidFill>
              </a:rPr>
              <a:pPr algn="ctr"/>
              <a:t>‹N°›</a:t>
            </a:fld>
            <a:endParaRPr lang="fr-FR" sz="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8622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FO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7B54B79-C1F8-497D-85A6-C5C5A0D72FB8}"/>
              </a:ext>
            </a:extLst>
          </p:cNvPr>
          <p:cNvSpPr/>
          <p:nvPr userDrawn="1"/>
        </p:nvSpPr>
        <p:spPr>
          <a:xfrm>
            <a:off x="0" y="5742039"/>
            <a:ext cx="12192000" cy="1115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A5A20C9E-4C84-4874-B3B3-D445803F99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3626" y="6243484"/>
            <a:ext cx="3932903" cy="371168"/>
          </a:xfrm>
        </p:spPr>
        <p:txBody>
          <a:bodyPr anchor="ctr">
            <a:normAutofit/>
          </a:bodyPr>
          <a:lstStyle>
            <a:lvl1pPr marL="0" indent="0" algn="l">
              <a:buNone/>
              <a:defRPr sz="120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Juillet 2018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206950B-F1E1-4F52-9BDC-879897BC35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1491" y="6115615"/>
            <a:ext cx="1527051" cy="368809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55B5CAC-AC11-426F-B227-9F2737280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5034"/>
          <a:stretch/>
        </p:blipFill>
        <p:spPr>
          <a:xfrm>
            <a:off x="-2" y="902043"/>
            <a:ext cx="12192002" cy="5098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271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552D7FB-35CD-414B-8CAE-80D62D17B544}"/>
              </a:ext>
            </a:extLst>
          </p:cNvPr>
          <p:cNvSpPr/>
          <p:nvPr userDrawn="1"/>
        </p:nvSpPr>
        <p:spPr>
          <a:xfrm>
            <a:off x="0" y="0"/>
            <a:ext cx="4768645" cy="6858000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50000"/>
              </a:lnSpc>
            </a:pPr>
            <a:endParaRPr lang="fr-FR" cap="all" baseline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lang="fr-FR" cap="all" baseline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lang="fr-FR" cap="all" baseline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fr-FR" cap="all" baseline="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7380D31-E501-471E-9303-6C138A5CF1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61632" y="265422"/>
            <a:ext cx="6496071" cy="1021062"/>
          </a:xfrm>
        </p:spPr>
        <p:txBody>
          <a:bodyPr anchor="ctr">
            <a:normAutofit/>
          </a:bodyPr>
          <a:lstStyle>
            <a:lvl1pPr algn="l">
              <a:defRPr sz="4600">
                <a:solidFill>
                  <a:schemeClr val="tx1"/>
                </a:solidFill>
              </a:defRPr>
            </a:lvl1pPr>
          </a:lstStyle>
          <a:p>
            <a:r>
              <a:rPr lang="fr-FR"/>
              <a:t>Titre sommaire</a:t>
            </a:r>
            <a:endParaRPr lang="en-GB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9AE8996-3DA5-4D9D-ADCB-213569B772AD}"/>
              </a:ext>
            </a:extLst>
          </p:cNvPr>
          <p:cNvCxnSpPr>
            <a:cxnSpLocks/>
          </p:cNvCxnSpPr>
          <p:nvPr userDrawn="1"/>
        </p:nvCxnSpPr>
        <p:spPr>
          <a:xfrm>
            <a:off x="4768645" y="6245786"/>
            <a:ext cx="7089058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F466DFB2-32C8-477A-BBEA-AEBEF4002C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703" y="6416112"/>
            <a:ext cx="1116000" cy="269531"/>
          </a:xfrm>
          <a:prstGeom prst="rect">
            <a:avLst/>
          </a:prstGeom>
        </p:spPr>
      </p:pic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1D281D22-CD80-4AF3-AD49-4D811E7DCC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56047" y="2811038"/>
            <a:ext cx="696913" cy="682739"/>
          </a:xfrm>
        </p:spPr>
        <p:txBody>
          <a:bodyPr anchor="ctr">
            <a:noAutofit/>
          </a:bodyPr>
          <a:lstStyle>
            <a:lvl1pPr algn="r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defRPr sz="4500" b="1">
                <a:solidFill>
                  <a:schemeClr val="accent1"/>
                </a:solidFill>
              </a:defRPr>
            </a:lvl1pPr>
            <a:lvl2pPr marL="452438" indent="0">
              <a:buNone/>
              <a:defRPr/>
            </a:lvl2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475BF7A2-F7B7-4DCB-BB47-5567A442F6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40363" y="2812216"/>
            <a:ext cx="6027174" cy="82549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Titre de la parti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7862D55-D6B0-4C49-84CC-B430B57ABD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56047" y="1814039"/>
            <a:ext cx="696913" cy="682739"/>
          </a:xfrm>
        </p:spPr>
        <p:txBody>
          <a:bodyPr anchor="ctr">
            <a:noAutofit/>
          </a:bodyPr>
          <a:lstStyle>
            <a:lvl1pPr algn="r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defRPr sz="4500" b="1">
                <a:solidFill>
                  <a:schemeClr val="accent1"/>
                </a:solidFill>
              </a:defRPr>
            </a:lvl1pPr>
            <a:lvl2pPr marL="452438" indent="0">
              <a:buNone/>
              <a:defRPr/>
            </a:lvl2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25" name="Espace réservé du texte 22">
            <a:extLst>
              <a:ext uri="{FF2B5EF4-FFF2-40B4-BE49-F238E27FC236}">
                <a16:creationId xmlns:a16="http://schemas.microsoft.com/office/drawing/2014/main" id="{090E635D-4C0A-439C-8EAA-B28F91FC68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40363" y="1815217"/>
            <a:ext cx="6027174" cy="82549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Titre de la parti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26" name="Espace réservé du texte 20">
            <a:extLst>
              <a:ext uri="{FF2B5EF4-FFF2-40B4-BE49-F238E27FC236}">
                <a16:creationId xmlns:a16="http://schemas.microsoft.com/office/drawing/2014/main" id="{ABBA750A-736E-49A3-AF27-BED0DA72F2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6047" y="3806859"/>
            <a:ext cx="696913" cy="682739"/>
          </a:xfrm>
        </p:spPr>
        <p:txBody>
          <a:bodyPr anchor="ctr">
            <a:noAutofit/>
          </a:bodyPr>
          <a:lstStyle>
            <a:lvl1pPr algn="r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defRPr sz="4500" b="1">
                <a:solidFill>
                  <a:schemeClr val="accent1"/>
                </a:solidFill>
              </a:defRPr>
            </a:lvl1pPr>
            <a:lvl2pPr marL="452438" indent="0">
              <a:buNone/>
              <a:defRPr/>
            </a:lvl2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27" name="Espace réservé du texte 22">
            <a:extLst>
              <a:ext uri="{FF2B5EF4-FFF2-40B4-BE49-F238E27FC236}">
                <a16:creationId xmlns:a16="http://schemas.microsoft.com/office/drawing/2014/main" id="{2C0AA495-E75C-4838-A459-38B32A48C3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40363" y="3808037"/>
            <a:ext cx="6027174" cy="82549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Titre de la partie</a:t>
            </a:r>
            <a:br>
              <a:rPr lang="fr-FR"/>
            </a:br>
            <a:r>
              <a:rPr lang="fr-FR"/>
              <a:t>Texte</a:t>
            </a:r>
          </a:p>
        </p:txBody>
      </p:sp>
      <p:sp>
        <p:nvSpPr>
          <p:cNvPr id="28" name="Espace réservé du texte 20">
            <a:extLst>
              <a:ext uri="{FF2B5EF4-FFF2-40B4-BE49-F238E27FC236}">
                <a16:creationId xmlns:a16="http://schemas.microsoft.com/office/drawing/2014/main" id="{1B6983F5-D613-4913-9322-D34511E9CC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6047" y="4801502"/>
            <a:ext cx="696913" cy="682739"/>
          </a:xfrm>
        </p:spPr>
        <p:txBody>
          <a:bodyPr anchor="ctr">
            <a:noAutofit/>
          </a:bodyPr>
          <a:lstStyle>
            <a:lvl1pPr algn="r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defRPr sz="4500" b="1">
                <a:solidFill>
                  <a:schemeClr val="accent1"/>
                </a:solidFill>
              </a:defRPr>
            </a:lvl1pPr>
            <a:lvl2pPr marL="452438" indent="0">
              <a:buNone/>
              <a:defRPr/>
            </a:lvl2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29" name="Espace réservé du texte 22">
            <a:extLst>
              <a:ext uri="{FF2B5EF4-FFF2-40B4-BE49-F238E27FC236}">
                <a16:creationId xmlns:a16="http://schemas.microsoft.com/office/drawing/2014/main" id="{3E3ED535-0F12-4AAD-B156-40A4D4AB88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40363" y="4802680"/>
            <a:ext cx="6027174" cy="82549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Titre de la partie</a:t>
            </a:r>
            <a:br>
              <a:rPr lang="fr-FR"/>
            </a:br>
            <a:r>
              <a:rPr lang="fr-FR"/>
              <a:t>Texte</a:t>
            </a:r>
          </a:p>
        </p:txBody>
      </p:sp>
      <p:pic>
        <p:nvPicPr>
          <p:cNvPr id="14" name="Image 13" descr="Plan de travail 1-100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779838" cy="688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256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F9238A-A2F7-46A3-BE59-90DD2FC72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79223" y="2437324"/>
            <a:ext cx="4729319" cy="2852737"/>
          </a:xfrm>
        </p:spPr>
        <p:txBody>
          <a:bodyPr anchor="t">
            <a:normAutofit/>
          </a:bodyPr>
          <a:lstStyle>
            <a:lvl1pPr>
              <a:lnSpc>
                <a:spcPct val="95000"/>
              </a:lnSpc>
              <a:defRPr sz="5100" b="0"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r>
              <a:rPr lang="fr-FR"/>
              <a:t>Titre du chap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CD0EE40-009D-4F02-AC43-4610682ED3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79223" y="1858297"/>
            <a:ext cx="4729319" cy="377108"/>
          </a:xfrm>
        </p:spPr>
        <p:txBody>
          <a:bodyPr>
            <a:normAutofit/>
          </a:bodyPr>
          <a:lstStyle>
            <a:lvl1pPr marL="0" indent="0">
              <a:buNone/>
              <a:defRPr sz="1400" cap="all" spc="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hapitre 0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4DF248C-1255-4547-BF5B-1F2ABBF5B1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1491" y="6115615"/>
            <a:ext cx="1527051" cy="368809"/>
          </a:xfrm>
          <a:prstGeom prst="rect">
            <a:avLst/>
          </a:prstGeom>
        </p:spPr>
      </p:pic>
      <p:pic>
        <p:nvPicPr>
          <p:cNvPr id="8" name="Image 7" descr="Plan de travail 1-100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21400" cy="688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2976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7380D31-E501-471E-9303-6C138A5CF1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23587" y="1484670"/>
            <a:ext cx="5034116" cy="2406587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00" b="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r>
              <a:rPr lang="fr-FR"/>
              <a:t>Titre </a:t>
            </a:r>
            <a:br>
              <a:rPr lang="fr-FR"/>
            </a:br>
            <a:r>
              <a:rPr lang="fr-FR"/>
              <a:t>de la slide</a:t>
            </a:r>
            <a:endParaRPr lang="en-GB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9AE8996-3DA5-4D9D-ADCB-213569B772A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6245786"/>
            <a:ext cx="576170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F466DFB2-32C8-477A-BBEA-AEBEF4002C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703" y="6416112"/>
            <a:ext cx="1116000" cy="269531"/>
          </a:xfrm>
          <a:prstGeom prst="rect">
            <a:avLst/>
          </a:prstGeom>
        </p:spPr>
      </p:pic>
      <p:sp>
        <p:nvSpPr>
          <p:cNvPr id="8" name="Sous-titre 2">
            <a:extLst>
              <a:ext uri="{FF2B5EF4-FFF2-40B4-BE49-F238E27FC236}">
                <a16:creationId xmlns:a16="http://schemas.microsoft.com/office/drawing/2014/main" id="{99F9CB98-2F69-4799-B719-23B03C6CCA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23587" y="4178710"/>
            <a:ext cx="5034116" cy="1799287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fr-FR" sz="1400" cap="none" baseline="0" dirty="0">
                <a:cs typeface="Poppins SemiBold" panose="00000700000000000000" pitchFamily="2" charset="0"/>
              </a:defRPr>
            </a:lvl1pPr>
            <a:lvl2pPr>
              <a:defRPr lang="en-GB" sz="1400" dirty="0"/>
            </a:lvl2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</a:pPr>
            <a:r>
              <a:rPr lang="fr-FR"/>
              <a:t>Texte</a:t>
            </a:r>
          </a:p>
        </p:txBody>
      </p:sp>
      <p:pic>
        <p:nvPicPr>
          <p:cNvPr id="12" name="Image 11" descr="Plan de travail 1-100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21400" cy="688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704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LIDE + TEL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552D7FB-35CD-414B-8CAE-80D62D17B54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50000"/>
              </a:lnSpc>
            </a:pPr>
            <a:endParaRPr lang="fr-FR" cap="all" baseline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lang="fr-FR" cap="all" baseline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lang="fr-FR" cap="all" baseline="0">
              <a:solidFill>
                <a:schemeClr val="tx1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7380D31-E501-471E-9303-6C138A5CF1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23587" y="1484670"/>
            <a:ext cx="5034116" cy="2406587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600" b="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r>
              <a:rPr lang="fr-FR"/>
              <a:t>Titre </a:t>
            </a:r>
            <a:br>
              <a:rPr lang="fr-FR"/>
            </a:br>
            <a:r>
              <a:rPr lang="fr-FR"/>
              <a:t>de la slid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A5A20C9E-4C84-4874-B3B3-D445803F99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23587" y="4178710"/>
            <a:ext cx="5034116" cy="1799287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fr-FR" sz="1400" cap="none" baseline="0" dirty="0">
                <a:cs typeface="Poppins SemiBold" panose="00000700000000000000" pitchFamily="2" charset="0"/>
              </a:defRPr>
            </a:lvl1pPr>
            <a:lvl2pPr>
              <a:defRPr lang="en-GB" sz="1400" dirty="0"/>
            </a:lvl2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</a:pPr>
            <a:r>
              <a:rPr lang="fr-FR"/>
              <a:t>Text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466DFB2-32C8-477A-BBEA-AEBEF4002C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703" y="6416112"/>
            <a:ext cx="1116000" cy="269531"/>
          </a:xfrm>
          <a:prstGeom prst="rect">
            <a:avLst/>
          </a:prstGeom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B21DBB2-A575-4068-9765-6A6A05DA9D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2CCD2A-B68A-4ECC-AB06-0049FB0510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/>
              <a:t>p.</a:t>
            </a:r>
            <a:fld id="{B96A81EA-E9A3-4097-8A44-733FED6BDB3C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9CDF63BA-7B52-40BE-BE98-1C71AA2C3D8A}"/>
              </a:ext>
            </a:extLst>
          </p:cNvPr>
          <p:cNvCxnSpPr/>
          <p:nvPr userDrawn="1"/>
        </p:nvCxnSpPr>
        <p:spPr>
          <a:xfrm>
            <a:off x="528484" y="6245786"/>
            <a:ext cx="11329219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42742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552D7FB-35CD-414B-8CAE-80D62D17B544}"/>
              </a:ext>
            </a:extLst>
          </p:cNvPr>
          <p:cNvSpPr/>
          <p:nvPr userDrawn="1"/>
        </p:nvSpPr>
        <p:spPr>
          <a:xfrm>
            <a:off x="0" y="0"/>
            <a:ext cx="12192000" cy="3428997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50000"/>
              </a:lnSpc>
            </a:pPr>
            <a:endParaRPr lang="fr-FR" cap="all" baseline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lang="fr-FR" cap="all" baseline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lang="fr-FR" cap="all" baseline="0">
              <a:solidFill>
                <a:schemeClr val="tx1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7380D31-E501-471E-9303-6C138A5CF1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8929" y="3982065"/>
            <a:ext cx="5034116" cy="1995932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600" b="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r>
              <a:rPr lang="fr-FR"/>
              <a:t>Titre de la slid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A5A20C9E-4C84-4874-B3B3-D445803F99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23587" y="3982066"/>
            <a:ext cx="5034116" cy="1995932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 cap="none" baseline="0">
                <a:solidFill>
                  <a:schemeClr val="tx1"/>
                </a:solidFill>
                <a:latin typeface="+mn-lt"/>
                <a:cs typeface="Poppins SemiBold" panose="00000700000000000000" pitchFamily="2" charset="0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Texte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C671D25D-1B9D-417F-B67B-80DCEBDEA6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fr-FR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A43E33E2-4FCC-44AF-9DC0-7BD6A87D2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/>
              <a:t>p.</a:t>
            </a:r>
            <a:fld id="{B96A81EA-E9A3-4097-8A44-733FED6BDB3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 descr="Plan de travail 1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93600" cy="341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76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P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A74DA9F4-9800-46B6-B0D8-0ADEF5909F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fr-FR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D0D80CF-EBE7-432F-B53C-A2CFD9FB74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/>
              <a:t>p.</a:t>
            </a:r>
            <a:fld id="{B96A81EA-E9A3-4097-8A44-733FED6BDB3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Image 11" descr="Plan de travail 1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17400" cy="62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768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99346436-7FB4-4D64-ADE1-8546C544AF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009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99346436-7FB4-4D64-ADE1-8546C544AF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CF7CEC7-1D08-49F7-9B58-5D8B483C26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700" b="1" i="0" baseline="0">
              <a:latin typeface="Poppins" panose="00000500000000000000"/>
              <a:ea typeface="+mj-ea"/>
              <a:cs typeface="+mj-cs"/>
              <a:sym typeface="Poppins" panose="0000050000000000000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4F0F92B-BBEB-4AF0-AF36-427B7B3906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AF4E3D1D-A72B-46FC-809E-2DCCD2CDD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/>
              <a:t>p.</a:t>
            </a:r>
            <a:fld id="{B96A81EA-E9A3-4097-8A44-733FED6BDB3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BA9F9B04-9075-4EB8-AC62-EE3F5BE49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79B1CF94-CAAC-4FE3-AD9C-6473F62E072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1704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E43C135-6E0A-48B5-98AC-4092DF38B7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484" y="363794"/>
            <a:ext cx="11329219" cy="87507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noProof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2267891-CF5E-4AF4-BB4F-828D4F09C5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8485" y="1700981"/>
            <a:ext cx="11329218" cy="44759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A09B5D3-31A6-40A2-80BA-9F2E88909A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91382" y="6445046"/>
            <a:ext cx="792000" cy="22726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 cap="all" baseline="0">
                <a:solidFill>
                  <a:schemeClr val="tx1"/>
                </a:solidFill>
              </a:defRPr>
            </a:lvl1pPr>
          </a:lstStyle>
          <a:p>
            <a:pPr algn="r"/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87DA149-E547-4B18-BD7E-62A76332F8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8484" y="6445046"/>
            <a:ext cx="324000" cy="22726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chemeClr val="tx1"/>
                </a:solidFill>
              </a:defRPr>
            </a:lvl1pPr>
          </a:lstStyle>
          <a:p>
            <a:r>
              <a:rPr lang="fr-FR"/>
              <a:t>p.</a:t>
            </a:r>
            <a:fld id="{B96A81EA-E9A3-4097-8A44-733FED6BDB3C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56FFE29A-F095-42F8-89B0-7588EEF97FEB}"/>
              </a:ext>
            </a:extLst>
          </p:cNvPr>
          <p:cNvCxnSpPr/>
          <p:nvPr/>
        </p:nvCxnSpPr>
        <p:spPr>
          <a:xfrm>
            <a:off x="528484" y="6245786"/>
            <a:ext cx="11329219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EA188573-8484-4BE1-82BE-967902D1D9F0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703" y="6416112"/>
            <a:ext cx="1116000" cy="269531"/>
          </a:xfrm>
          <a:prstGeom prst="rect">
            <a:avLst/>
          </a:prstGeom>
        </p:spPr>
      </p:pic>
      <p:pic>
        <p:nvPicPr>
          <p:cNvPr id="9" name="Image 8" descr="Retours accueil Pages Jaunes">
            <a:extLst>
              <a:ext uri="{FF2B5EF4-FFF2-40B4-BE49-F238E27FC236}">
                <a16:creationId xmlns:a16="http://schemas.microsoft.com/office/drawing/2014/main" id="{A08B327A-A24B-4500-A12A-C1D1BC59BE11}"/>
              </a:ext>
            </a:extLst>
          </p:cNvPr>
          <p:cNvPicPr/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1000171" y="215833"/>
            <a:ext cx="760828" cy="760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76385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1" r:id="rId4"/>
    <p:sldLayoutId id="2147483658" r:id="rId5"/>
    <p:sldLayoutId id="2147483664" r:id="rId6"/>
    <p:sldLayoutId id="2147483659" r:id="rId7"/>
    <p:sldLayoutId id="2147483660" r:id="rId8"/>
    <p:sldLayoutId id="2147483650" r:id="rId9"/>
    <p:sldLayoutId id="2147483652" r:id="rId10"/>
    <p:sldLayoutId id="2147483654" r:id="rId11"/>
    <p:sldLayoutId id="2147483661" r:id="rId12"/>
    <p:sldLayoutId id="2147483655" r:id="rId13"/>
    <p:sldLayoutId id="2147483662" r:id="rId14"/>
    <p:sldLayoutId id="2147483665" r:id="rId1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2438" indent="176213" algn="l" defTabSz="914400" rtl="0" eaLnBrk="1" latinLnBrk="0" hangingPunct="1">
        <a:lnSpc>
          <a:spcPct val="110000"/>
        </a:lnSpc>
        <a:spcBef>
          <a:spcPts val="500"/>
        </a:spcBef>
        <a:spcAft>
          <a:spcPts val="500"/>
        </a:spcAft>
        <a:buFont typeface="Poppins" panose="00000500000000000000" pitchFamily="2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7550" indent="1778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tx2"/>
        </a:buClr>
        <a:buFont typeface="Poppins" panose="00000500000000000000" pitchFamily="2" charset="0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95350" indent="176213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accent1"/>
        </a:buClr>
        <a:buFont typeface="Poppins" panose="00000500000000000000" pitchFamily="2" charset="0"/>
        <a:buChar char="-"/>
        <a:defRPr sz="13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9535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6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18" Type="http://schemas.openxmlformats.org/officeDocument/2006/relationships/image" Target="../media/image33.png"/><Relationship Id="rId3" Type="http://schemas.openxmlformats.org/officeDocument/2006/relationships/image" Target="../media/image20.svg"/><Relationship Id="rId21" Type="http://schemas.openxmlformats.org/officeDocument/2006/relationships/image" Target="../media/image36.svg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17" Type="http://schemas.openxmlformats.org/officeDocument/2006/relationships/image" Target="../media/image14.svg"/><Relationship Id="rId2" Type="http://schemas.openxmlformats.org/officeDocument/2006/relationships/image" Target="../media/image19.png"/><Relationship Id="rId16" Type="http://schemas.openxmlformats.org/officeDocument/2006/relationships/image" Target="../media/image13.pn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5" Type="http://schemas.openxmlformats.org/officeDocument/2006/relationships/image" Target="../media/image32.svg"/><Relationship Id="rId10" Type="http://schemas.openxmlformats.org/officeDocument/2006/relationships/image" Target="../media/image27.png"/><Relationship Id="rId19" Type="http://schemas.openxmlformats.org/officeDocument/2006/relationships/image" Target="../media/image34.svg"/><Relationship Id="rId4" Type="http://schemas.openxmlformats.org/officeDocument/2006/relationships/image" Target="../media/image21.png"/><Relationship Id="rId9" Type="http://schemas.openxmlformats.org/officeDocument/2006/relationships/image" Target="../media/image26.svg"/><Relationship Id="rId1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14.svg"/><Relationship Id="rId18" Type="http://schemas.openxmlformats.org/officeDocument/2006/relationships/image" Target="../media/image33.png"/><Relationship Id="rId3" Type="http://schemas.openxmlformats.org/officeDocument/2006/relationships/image" Target="../media/image20.svg"/><Relationship Id="rId21" Type="http://schemas.openxmlformats.org/officeDocument/2006/relationships/image" Target="../media/image36.svg"/><Relationship Id="rId7" Type="http://schemas.openxmlformats.org/officeDocument/2006/relationships/image" Target="../media/image28.svg"/><Relationship Id="rId12" Type="http://schemas.openxmlformats.org/officeDocument/2006/relationships/image" Target="../media/image13.png"/><Relationship Id="rId17" Type="http://schemas.openxmlformats.org/officeDocument/2006/relationships/image" Target="../media/image24.svg"/><Relationship Id="rId2" Type="http://schemas.openxmlformats.org/officeDocument/2006/relationships/image" Target="../media/image19.png"/><Relationship Id="rId16" Type="http://schemas.openxmlformats.org/officeDocument/2006/relationships/image" Target="../media/image23.pn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22.svg"/><Relationship Id="rId10" Type="http://schemas.openxmlformats.org/officeDocument/2006/relationships/image" Target="../media/image31.png"/><Relationship Id="rId19" Type="http://schemas.openxmlformats.org/officeDocument/2006/relationships/image" Target="../media/image34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14.svg"/><Relationship Id="rId18" Type="http://schemas.openxmlformats.org/officeDocument/2006/relationships/image" Target="../media/image33.png"/><Relationship Id="rId3" Type="http://schemas.openxmlformats.org/officeDocument/2006/relationships/image" Target="../media/image20.svg"/><Relationship Id="rId21" Type="http://schemas.openxmlformats.org/officeDocument/2006/relationships/image" Target="../media/image36.svg"/><Relationship Id="rId7" Type="http://schemas.openxmlformats.org/officeDocument/2006/relationships/image" Target="../media/image28.svg"/><Relationship Id="rId12" Type="http://schemas.openxmlformats.org/officeDocument/2006/relationships/image" Target="../media/image13.png"/><Relationship Id="rId17" Type="http://schemas.openxmlformats.org/officeDocument/2006/relationships/image" Target="../media/image24.svg"/><Relationship Id="rId2" Type="http://schemas.openxmlformats.org/officeDocument/2006/relationships/image" Target="../media/image19.png"/><Relationship Id="rId16" Type="http://schemas.openxmlformats.org/officeDocument/2006/relationships/image" Target="../media/image23.pn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22.svg"/><Relationship Id="rId10" Type="http://schemas.openxmlformats.org/officeDocument/2006/relationships/image" Target="../media/image31.png"/><Relationship Id="rId19" Type="http://schemas.openxmlformats.org/officeDocument/2006/relationships/image" Target="../media/image34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14.svg"/><Relationship Id="rId18" Type="http://schemas.openxmlformats.org/officeDocument/2006/relationships/image" Target="../media/image41.png"/><Relationship Id="rId26" Type="http://schemas.openxmlformats.org/officeDocument/2006/relationships/image" Target="../media/image35.png"/><Relationship Id="rId3" Type="http://schemas.openxmlformats.org/officeDocument/2006/relationships/image" Target="../media/image20.svg"/><Relationship Id="rId21" Type="http://schemas.openxmlformats.org/officeDocument/2006/relationships/image" Target="../media/image22.svg"/><Relationship Id="rId7" Type="http://schemas.openxmlformats.org/officeDocument/2006/relationships/image" Target="../media/image28.svg"/><Relationship Id="rId12" Type="http://schemas.openxmlformats.org/officeDocument/2006/relationships/image" Target="../media/image13.png"/><Relationship Id="rId17" Type="http://schemas.openxmlformats.org/officeDocument/2006/relationships/image" Target="../media/image40.svg"/><Relationship Id="rId25" Type="http://schemas.openxmlformats.org/officeDocument/2006/relationships/image" Target="../media/image34.svg"/><Relationship Id="rId2" Type="http://schemas.openxmlformats.org/officeDocument/2006/relationships/image" Target="../media/image19.png"/><Relationship Id="rId16" Type="http://schemas.openxmlformats.org/officeDocument/2006/relationships/image" Target="../media/image39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24" Type="http://schemas.openxmlformats.org/officeDocument/2006/relationships/image" Target="../media/image33.png"/><Relationship Id="rId5" Type="http://schemas.openxmlformats.org/officeDocument/2006/relationships/image" Target="../media/image26.svg"/><Relationship Id="rId15" Type="http://schemas.openxmlformats.org/officeDocument/2006/relationships/image" Target="../media/image38.svg"/><Relationship Id="rId23" Type="http://schemas.openxmlformats.org/officeDocument/2006/relationships/image" Target="../media/image24.svg"/><Relationship Id="rId10" Type="http://schemas.openxmlformats.org/officeDocument/2006/relationships/image" Target="../media/image31.png"/><Relationship Id="rId19" Type="http://schemas.openxmlformats.org/officeDocument/2006/relationships/image" Target="../media/image42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7.png"/><Relationship Id="rId22" Type="http://schemas.openxmlformats.org/officeDocument/2006/relationships/image" Target="../media/image23.png"/><Relationship Id="rId27" Type="http://schemas.openxmlformats.org/officeDocument/2006/relationships/image" Target="../media/image36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14.svg"/><Relationship Id="rId18" Type="http://schemas.openxmlformats.org/officeDocument/2006/relationships/image" Target="../media/image23.png"/><Relationship Id="rId3" Type="http://schemas.openxmlformats.org/officeDocument/2006/relationships/image" Target="../media/image20.svg"/><Relationship Id="rId21" Type="http://schemas.openxmlformats.org/officeDocument/2006/relationships/image" Target="../media/image34.svg"/><Relationship Id="rId7" Type="http://schemas.openxmlformats.org/officeDocument/2006/relationships/image" Target="../media/image28.svg"/><Relationship Id="rId12" Type="http://schemas.openxmlformats.org/officeDocument/2006/relationships/image" Target="../media/image13.png"/><Relationship Id="rId17" Type="http://schemas.openxmlformats.org/officeDocument/2006/relationships/image" Target="../media/image22.svg"/><Relationship Id="rId2" Type="http://schemas.openxmlformats.org/officeDocument/2006/relationships/image" Target="../media/image19.png"/><Relationship Id="rId16" Type="http://schemas.openxmlformats.org/officeDocument/2006/relationships/image" Target="../media/image21.png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24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14.svg"/><Relationship Id="rId18" Type="http://schemas.openxmlformats.org/officeDocument/2006/relationships/image" Target="../media/image33.png"/><Relationship Id="rId3" Type="http://schemas.openxmlformats.org/officeDocument/2006/relationships/image" Target="../media/image20.svg"/><Relationship Id="rId21" Type="http://schemas.openxmlformats.org/officeDocument/2006/relationships/image" Target="../media/image36.svg"/><Relationship Id="rId7" Type="http://schemas.openxmlformats.org/officeDocument/2006/relationships/image" Target="../media/image28.svg"/><Relationship Id="rId12" Type="http://schemas.openxmlformats.org/officeDocument/2006/relationships/image" Target="../media/image13.png"/><Relationship Id="rId17" Type="http://schemas.openxmlformats.org/officeDocument/2006/relationships/image" Target="../media/image24.svg"/><Relationship Id="rId2" Type="http://schemas.openxmlformats.org/officeDocument/2006/relationships/image" Target="../media/image19.png"/><Relationship Id="rId16" Type="http://schemas.openxmlformats.org/officeDocument/2006/relationships/image" Target="../media/image23.pn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22.svg"/><Relationship Id="rId10" Type="http://schemas.openxmlformats.org/officeDocument/2006/relationships/image" Target="../media/image31.png"/><Relationship Id="rId19" Type="http://schemas.openxmlformats.org/officeDocument/2006/relationships/image" Target="../media/image34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14.svg"/><Relationship Id="rId18" Type="http://schemas.openxmlformats.org/officeDocument/2006/relationships/image" Target="../media/image33.png"/><Relationship Id="rId3" Type="http://schemas.openxmlformats.org/officeDocument/2006/relationships/image" Target="../media/image20.svg"/><Relationship Id="rId21" Type="http://schemas.openxmlformats.org/officeDocument/2006/relationships/image" Target="../media/image36.svg"/><Relationship Id="rId7" Type="http://schemas.openxmlformats.org/officeDocument/2006/relationships/image" Target="../media/image28.svg"/><Relationship Id="rId12" Type="http://schemas.openxmlformats.org/officeDocument/2006/relationships/image" Target="../media/image13.png"/><Relationship Id="rId17" Type="http://schemas.openxmlformats.org/officeDocument/2006/relationships/image" Target="../media/image24.svg"/><Relationship Id="rId2" Type="http://schemas.openxmlformats.org/officeDocument/2006/relationships/image" Target="../media/image19.png"/><Relationship Id="rId16" Type="http://schemas.openxmlformats.org/officeDocument/2006/relationships/image" Target="../media/image23.pn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22.svg"/><Relationship Id="rId10" Type="http://schemas.openxmlformats.org/officeDocument/2006/relationships/image" Target="../media/image31.png"/><Relationship Id="rId19" Type="http://schemas.openxmlformats.org/officeDocument/2006/relationships/image" Target="../media/image34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2A3CBD3B-1D07-4A65-95C7-A69B5F9A9D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463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2A3CBD3B-1D07-4A65-95C7-A69B5F9A9D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35DEA7A-A9B8-4871-AA53-5763E84F57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4000" b="1">
              <a:latin typeface="Poppins" panose="00000500000000000000" pitchFamily="2" charset="0"/>
              <a:ea typeface="+mj-ea"/>
              <a:cs typeface="+mj-cs"/>
              <a:sym typeface="Poppins" panose="00000500000000000000" pitchFamily="2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F91D4A2-5F8E-4A93-9951-F723C53EFC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Le Machine Learning et ses métiers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737E6F3-80CD-4ADE-8919-18C3D475D4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21 Mars 2019, présenté par Robin ALLESIARDO</a:t>
            </a:r>
          </a:p>
        </p:txBody>
      </p:sp>
    </p:spTree>
    <p:extLst>
      <p:ext uri="{BB962C8B-B14F-4D97-AF65-F5344CB8AC3E}">
        <p14:creationId xmlns:p14="http://schemas.microsoft.com/office/powerpoint/2010/main" val="40066754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pprentissage supervisé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F098FE1-D256-8A4A-8F50-F73048E96C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1839149"/>
            <a:ext cx="755742" cy="87507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691C021-6DDF-5245-B58F-2BDF4CCA3E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2714221"/>
            <a:ext cx="755742" cy="87507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EACFD7C-4674-9B49-9343-5607B083F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3589293"/>
            <a:ext cx="755742" cy="87507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2E88C0A-FAF0-DD41-9FFB-954B3EF9CD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4464365"/>
            <a:ext cx="755742" cy="875072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2EDAF44D-0882-EF43-B892-BB89B6C932B8}"/>
              </a:ext>
            </a:extLst>
          </p:cNvPr>
          <p:cNvSpPr txBox="1"/>
          <p:nvPr/>
        </p:nvSpPr>
        <p:spPr>
          <a:xfrm>
            <a:off x="1114321" y="1469817"/>
            <a:ext cx="13933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donné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8EEF01DA-C240-204C-A338-887B96BD8B02}"/>
              </a:ext>
            </a:extLst>
          </p:cNvPr>
          <p:cNvSpPr txBox="1"/>
          <p:nvPr/>
        </p:nvSpPr>
        <p:spPr>
          <a:xfrm>
            <a:off x="6632802" y="1514705"/>
            <a:ext cx="1969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Exemples de cibles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F929922F-EA43-0B45-8D75-B0B19B9B39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1913" t="19821" r="-1504" b="71924"/>
          <a:stretch/>
        </p:blipFill>
        <p:spPr>
          <a:xfrm>
            <a:off x="3315097" y="2697610"/>
            <a:ext cx="1136822" cy="1157471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AC80E237-A3D3-B64A-B956-A38F904B1F98}"/>
              </a:ext>
            </a:extLst>
          </p:cNvPr>
          <p:cNvSpPr txBox="1"/>
          <p:nvPr/>
        </p:nvSpPr>
        <p:spPr>
          <a:xfrm>
            <a:off x="3150661" y="1473895"/>
            <a:ext cx="1218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Un modèle</a:t>
            </a:r>
          </a:p>
        </p:txBody>
      </p:sp>
      <p:grpSp>
        <p:nvGrpSpPr>
          <p:cNvPr id="53" name="Groupe 52">
            <a:extLst>
              <a:ext uri="{FF2B5EF4-FFF2-40B4-BE49-F238E27FC236}">
                <a16:creationId xmlns:a16="http://schemas.microsoft.com/office/drawing/2014/main" id="{2157F51E-F4E4-A841-8FA1-D3EF4DC71F9B}"/>
              </a:ext>
            </a:extLst>
          </p:cNvPr>
          <p:cNvGrpSpPr/>
          <p:nvPr/>
        </p:nvGrpSpPr>
        <p:grpSpPr>
          <a:xfrm>
            <a:off x="4969365" y="1900343"/>
            <a:ext cx="686107" cy="702343"/>
            <a:chOff x="8987094" y="1322173"/>
            <a:chExt cx="895158" cy="881890"/>
          </a:xfrm>
        </p:grpSpPr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6121F0C2-CAA1-9E42-94B7-4CA6484F467D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041866B9-70D1-8C41-8192-0BD4B53DDD8D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56" name="Connecteur droit 55">
              <a:extLst>
                <a:ext uri="{FF2B5EF4-FFF2-40B4-BE49-F238E27FC236}">
                  <a16:creationId xmlns:a16="http://schemas.microsoft.com/office/drawing/2014/main" id="{EC604E8A-FA08-A945-8DA1-D218740C3A3B}"/>
                </a:ext>
              </a:extLst>
            </p:cNvPr>
            <p:cNvCxnSpPr>
              <a:stCxn id="54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eur droit 56">
              <a:extLst>
                <a:ext uri="{FF2B5EF4-FFF2-40B4-BE49-F238E27FC236}">
                  <a16:creationId xmlns:a16="http://schemas.microsoft.com/office/drawing/2014/main" id="{92C7E50A-CA99-9D46-8BD1-3FB620D24BDD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eur droit 57">
              <a:extLst>
                <a:ext uri="{FF2B5EF4-FFF2-40B4-BE49-F238E27FC236}">
                  <a16:creationId xmlns:a16="http://schemas.microsoft.com/office/drawing/2014/main" id="{349FF2B4-0ECF-2D49-B43C-F2DF5AB6DB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eur droit 58">
              <a:extLst>
                <a:ext uri="{FF2B5EF4-FFF2-40B4-BE49-F238E27FC236}">
                  <a16:creationId xmlns:a16="http://schemas.microsoft.com/office/drawing/2014/main" id="{25BEDC56-C516-3A4D-B289-CB052430DF6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Connecteur droit avec flèche 60">
            <a:extLst>
              <a:ext uri="{FF2B5EF4-FFF2-40B4-BE49-F238E27FC236}">
                <a16:creationId xmlns:a16="http://schemas.microsoft.com/office/drawing/2014/main" id="{66424EC5-C3B0-9B45-A49F-58F2E3BF697A}"/>
              </a:ext>
            </a:extLst>
          </p:cNvPr>
          <p:cNvCxnSpPr>
            <a:cxnSpLocks/>
          </p:cNvCxnSpPr>
          <p:nvPr/>
        </p:nvCxnSpPr>
        <p:spPr>
          <a:xfrm flipV="1">
            <a:off x="2405198" y="3294516"/>
            <a:ext cx="822572" cy="89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id="{2135FB97-F712-CC4C-8FA2-8451309DEB2A}"/>
              </a:ext>
            </a:extLst>
          </p:cNvPr>
          <p:cNvCxnSpPr/>
          <p:nvPr/>
        </p:nvCxnSpPr>
        <p:spPr>
          <a:xfrm flipV="1">
            <a:off x="4345277" y="3286165"/>
            <a:ext cx="624428" cy="41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ZoneTexte 63">
            <a:extLst>
              <a:ext uri="{FF2B5EF4-FFF2-40B4-BE49-F238E27FC236}">
                <a16:creationId xmlns:a16="http://schemas.microsoft.com/office/drawing/2014/main" id="{1ECA9A1D-4689-6643-9194-107504500EE9}"/>
              </a:ext>
            </a:extLst>
          </p:cNvPr>
          <p:cNvSpPr txBox="1"/>
          <p:nvPr/>
        </p:nvSpPr>
        <p:spPr>
          <a:xfrm>
            <a:off x="4635667" y="1473895"/>
            <a:ext cx="15906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Les prédictions</a:t>
            </a:r>
          </a:p>
        </p:txBody>
      </p:sp>
      <p:pic>
        <p:nvPicPr>
          <p:cNvPr id="65" name="Image 64">
            <a:extLst>
              <a:ext uri="{FF2B5EF4-FFF2-40B4-BE49-F238E27FC236}">
                <a16:creationId xmlns:a16="http://schemas.microsoft.com/office/drawing/2014/main" id="{89813A7E-0886-7745-8DA0-8924389991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313" t="55121" r="29495" b="39257"/>
          <a:stretch/>
        </p:blipFill>
        <p:spPr>
          <a:xfrm>
            <a:off x="3356419" y="4381046"/>
            <a:ext cx="934785" cy="761962"/>
          </a:xfrm>
          <a:prstGeom prst="rect">
            <a:avLst/>
          </a:prstGeom>
        </p:spPr>
      </p:pic>
      <p:sp>
        <p:nvSpPr>
          <p:cNvPr id="66" name="ZoneTexte 65">
            <a:extLst>
              <a:ext uri="{FF2B5EF4-FFF2-40B4-BE49-F238E27FC236}">
                <a16:creationId xmlns:a16="http://schemas.microsoft.com/office/drawing/2014/main" id="{B98848F0-5DB8-BA45-9ABE-96D30ADDB4D2}"/>
              </a:ext>
            </a:extLst>
          </p:cNvPr>
          <p:cNvSpPr txBox="1"/>
          <p:nvPr/>
        </p:nvSpPr>
        <p:spPr>
          <a:xfrm>
            <a:off x="2992974" y="4999032"/>
            <a:ext cx="16616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paramètres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B8EA24ED-21B3-F147-AD81-F093A959AD8A}"/>
              </a:ext>
            </a:extLst>
          </p:cNvPr>
          <p:cNvCxnSpPr>
            <a:cxnSpLocks/>
          </p:cNvCxnSpPr>
          <p:nvPr/>
        </p:nvCxnSpPr>
        <p:spPr>
          <a:xfrm flipV="1">
            <a:off x="3837071" y="3796289"/>
            <a:ext cx="6949" cy="5847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e 59">
            <a:extLst>
              <a:ext uri="{FF2B5EF4-FFF2-40B4-BE49-F238E27FC236}">
                <a16:creationId xmlns:a16="http://schemas.microsoft.com/office/drawing/2014/main" id="{594011E1-63B1-D54E-8DC7-2049EE4B9F58}"/>
              </a:ext>
            </a:extLst>
          </p:cNvPr>
          <p:cNvGrpSpPr/>
          <p:nvPr/>
        </p:nvGrpSpPr>
        <p:grpSpPr>
          <a:xfrm>
            <a:off x="4969364" y="2811116"/>
            <a:ext cx="686107" cy="702343"/>
            <a:chOff x="8987094" y="1322173"/>
            <a:chExt cx="895158" cy="881890"/>
          </a:xfrm>
        </p:grpSpPr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45CF0602-E367-4E42-9D79-E83BD9CD1CA5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1818FA6D-F84F-E046-9D69-FCC51B6FAB3E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70" name="Connecteur droit 69">
              <a:extLst>
                <a:ext uri="{FF2B5EF4-FFF2-40B4-BE49-F238E27FC236}">
                  <a16:creationId xmlns:a16="http://schemas.microsoft.com/office/drawing/2014/main" id="{C4D84E7A-F5C5-C942-8044-A76D605F07C5}"/>
                </a:ext>
              </a:extLst>
            </p:cNvPr>
            <p:cNvCxnSpPr>
              <a:stCxn id="68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necteur droit 70">
              <a:extLst>
                <a:ext uri="{FF2B5EF4-FFF2-40B4-BE49-F238E27FC236}">
                  <a16:creationId xmlns:a16="http://schemas.microsoft.com/office/drawing/2014/main" id="{787F9B9E-E089-8648-A57C-CC715BD4C245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necteur droit 71">
              <a:extLst>
                <a:ext uri="{FF2B5EF4-FFF2-40B4-BE49-F238E27FC236}">
                  <a16:creationId xmlns:a16="http://schemas.microsoft.com/office/drawing/2014/main" id="{ED66DACB-58B4-CD4B-AD03-4541C9B13BB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necteur droit 72">
              <a:extLst>
                <a:ext uri="{FF2B5EF4-FFF2-40B4-BE49-F238E27FC236}">
                  <a16:creationId xmlns:a16="http://schemas.microsoft.com/office/drawing/2014/main" id="{C67D73E7-2EB8-CC42-B3FB-048D34BE24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oupe 73">
            <a:extLst>
              <a:ext uri="{FF2B5EF4-FFF2-40B4-BE49-F238E27FC236}">
                <a16:creationId xmlns:a16="http://schemas.microsoft.com/office/drawing/2014/main" id="{E8362557-E8E0-5245-93BF-12A6D296B9F6}"/>
              </a:ext>
            </a:extLst>
          </p:cNvPr>
          <p:cNvGrpSpPr/>
          <p:nvPr/>
        </p:nvGrpSpPr>
        <p:grpSpPr>
          <a:xfrm>
            <a:off x="4969038" y="3629670"/>
            <a:ext cx="686107" cy="702343"/>
            <a:chOff x="8987094" y="1322173"/>
            <a:chExt cx="895158" cy="881890"/>
          </a:xfrm>
        </p:grpSpPr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A304F549-C826-5C49-A0C2-FA11E33390B6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6" name="Ellipse 75">
              <a:extLst>
                <a:ext uri="{FF2B5EF4-FFF2-40B4-BE49-F238E27FC236}">
                  <a16:creationId xmlns:a16="http://schemas.microsoft.com/office/drawing/2014/main" id="{C703C3D9-3F0D-9B4D-A089-532C86E9392B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77" name="Connecteur droit 76">
              <a:extLst>
                <a:ext uri="{FF2B5EF4-FFF2-40B4-BE49-F238E27FC236}">
                  <a16:creationId xmlns:a16="http://schemas.microsoft.com/office/drawing/2014/main" id="{16D08195-36F7-EB4D-8886-23D7567ED815}"/>
                </a:ext>
              </a:extLst>
            </p:cNvPr>
            <p:cNvCxnSpPr>
              <a:stCxn id="75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eur droit 77">
              <a:extLst>
                <a:ext uri="{FF2B5EF4-FFF2-40B4-BE49-F238E27FC236}">
                  <a16:creationId xmlns:a16="http://schemas.microsoft.com/office/drawing/2014/main" id="{142BAE68-2674-E844-A398-C80D62F99EB9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eur droit 78">
              <a:extLst>
                <a:ext uri="{FF2B5EF4-FFF2-40B4-BE49-F238E27FC236}">
                  <a16:creationId xmlns:a16="http://schemas.microsoft.com/office/drawing/2014/main" id="{93D417DF-4D19-8D4E-B362-95E29D5A39C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eur droit 79">
              <a:extLst>
                <a:ext uri="{FF2B5EF4-FFF2-40B4-BE49-F238E27FC236}">
                  <a16:creationId xmlns:a16="http://schemas.microsoft.com/office/drawing/2014/main" id="{3FD7D54F-914C-6740-8C33-76E26E32BE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e 80">
            <a:extLst>
              <a:ext uri="{FF2B5EF4-FFF2-40B4-BE49-F238E27FC236}">
                <a16:creationId xmlns:a16="http://schemas.microsoft.com/office/drawing/2014/main" id="{5149FBAA-244E-BA47-A62A-C35FDB33E4F5}"/>
              </a:ext>
            </a:extLst>
          </p:cNvPr>
          <p:cNvGrpSpPr/>
          <p:nvPr/>
        </p:nvGrpSpPr>
        <p:grpSpPr>
          <a:xfrm>
            <a:off x="4969037" y="4529846"/>
            <a:ext cx="686107" cy="702343"/>
            <a:chOff x="8987094" y="1322173"/>
            <a:chExt cx="895158" cy="881890"/>
          </a:xfrm>
        </p:grpSpPr>
        <p:sp>
          <p:nvSpPr>
            <p:cNvPr id="82" name="Ellipse 81">
              <a:extLst>
                <a:ext uri="{FF2B5EF4-FFF2-40B4-BE49-F238E27FC236}">
                  <a16:creationId xmlns:a16="http://schemas.microsoft.com/office/drawing/2014/main" id="{16F7A48C-EA4A-DE48-A91C-B17F4F1B0B8D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73670061-BE3D-6A47-A110-A52D73B24A22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84" name="Connecteur droit 83">
              <a:extLst>
                <a:ext uri="{FF2B5EF4-FFF2-40B4-BE49-F238E27FC236}">
                  <a16:creationId xmlns:a16="http://schemas.microsoft.com/office/drawing/2014/main" id="{E1BF0BCC-FF08-584C-B1D5-F76C22A16322}"/>
                </a:ext>
              </a:extLst>
            </p:cNvPr>
            <p:cNvCxnSpPr>
              <a:stCxn id="82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77FBD3BF-11F9-5746-96B4-77162E924514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Connecteur droit 85">
              <a:extLst>
                <a:ext uri="{FF2B5EF4-FFF2-40B4-BE49-F238E27FC236}">
                  <a16:creationId xmlns:a16="http://schemas.microsoft.com/office/drawing/2014/main" id="{5B895976-E285-FD48-8ECB-1D730683362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Connecteur droit 86">
              <a:extLst>
                <a:ext uri="{FF2B5EF4-FFF2-40B4-BE49-F238E27FC236}">
                  <a16:creationId xmlns:a16="http://schemas.microsoft.com/office/drawing/2014/main" id="{F377434A-BDDC-B64B-9EB3-7761A84B6D8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8" name="Connecteur droit avec flèche 87">
            <a:extLst>
              <a:ext uri="{FF2B5EF4-FFF2-40B4-BE49-F238E27FC236}">
                <a16:creationId xmlns:a16="http://schemas.microsoft.com/office/drawing/2014/main" id="{3F51A201-4B19-A64E-A586-59C119A3C96C}"/>
              </a:ext>
            </a:extLst>
          </p:cNvPr>
          <p:cNvCxnSpPr>
            <a:cxnSpLocks/>
          </p:cNvCxnSpPr>
          <p:nvPr/>
        </p:nvCxnSpPr>
        <p:spPr>
          <a:xfrm flipV="1">
            <a:off x="2482119" y="3454666"/>
            <a:ext cx="745651" cy="623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avec flèche 88">
            <a:extLst>
              <a:ext uri="{FF2B5EF4-FFF2-40B4-BE49-F238E27FC236}">
                <a16:creationId xmlns:a16="http://schemas.microsoft.com/office/drawing/2014/main" id="{70607F7D-2221-B946-BB47-866CD5D65DD2}"/>
              </a:ext>
            </a:extLst>
          </p:cNvPr>
          <p:cNvCxnSpPr>
            <a:cxnSpLocks/>
          </p:cNvCxnSpPr>
          <p:nvPr/>
        </p:nvCxnSpPr>
        <p:spPr>
          <a:xfrm flipV="1">
            <a:off x="2324145" y="3605781"/>
            <a:ext cx="947182" cy="1393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eur droit avec flèche 89">
            <a:extLst>
              <a:ext uri="{FF2B5EF4-FFF2-40B4-BE49-F238E27FC236}">
                <a16:creationId xmlns:a16="http://schemas.microsoft.com/office/drawing/2014/main" id="{EA1CB215-E117-6E46-8B10-FB9FD44D0499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2324145" y="2364072"/>
            <a:ext cx="990952" cy="9122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cteur droit avec flèche 90">
            <a:extLst>
              <a:ext uri="{FF2B5EF4-FFF2-40B4-BE49-F238E27FC236}">
                <a16:creationId xmlns:a16="http://schemas.microsoft.com/office/drawing/2014/main" id="{5D12192D-9CCF-994E-8FC3-9B49337B782F}"/>
              </a:ext>
            </a:extLst>
          </p:cNvPr>
          <p:cNvCxnSpPr>
            <a:cxnSpLocks/>
          </p:cNvCxnSpPr>
          <p:nvPr/>
        </p:nvCxnSpPr>
        <p:spPr>
          <a:xfrm flipV="1">
            <a:off x="4303436" y="2274524"/>
            <a:ext cx="745651" cy="623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C1DCA7A6-9DBF-5A42-8B1B-91A8DC69127E}"/>
              </a:ext>
            </a:extLst>
          </p:cNvPr>
          <p:cNvCxnSpPr>
            <a:cxnSpLocks/>
          </p:cNvCxnSpPr>
          <p:nvPr/>
        </p:nvCxnSpPr>
        <p:spPr>
          <a:xfrm>
            <a:off x="4247696" y="3839913"/>
            <a:ext cx="776417" cy="8178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eur droit avec flèche 92">
            <a:extLst>
              <a:ext uri="{FF2B5EF4-FFF2-40B4-BE49-F238E27FC236}">
                <a16:creationId xmlns:a16="http://schemas.microsoft.com/office/drawing/2014/main" id="{6540BD50-365C-E247-B2D1-DF9554F96477}"/>
              </a:ext>
            </a:extLst>
          </p:cNvPr>
          <p:cNvCxnSpPr>
            <a:cxnSpLocks/>
          </p:cNvCxnSpPr>
          <p:nvPr/>
        </p:nvCxnSpPr>
        <p:spPr>
          <a:xfrm>
            <a:off x="4349801" y="3455401"/>
            <a:ext cx="582770" cy="3920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Accolade fermante 2">
            <a:extLst>
              <a:ext uri="{FF2B5EF4-FFF2-40B4-BE49-F238E27FC236}">
                <a16:creationId xmlns:a16="http://schemas.microsoft.com/office/drawing/2014/main" id="{9A5B3A2B-2C49-364C-AAB5-554C795795D3}"/>
              </a:ext>
            </a:extLst>
          </p:cNvPr>
          <p:cNvSpPr/>
          <p:nvPr/>
        </p:nvSpPr>
        <p:spPr>
          <a:xfrm>
            <a:off x="8368747" y="1469817"/>
            <a:ext cx="675861" cy="4199121"/>
          </a:xfrm>
          <a:prstGeom prst="righ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ln w="38100">
                <a:solidFill>
                  <a:schemeClr val="tx1"/>
                </a:solidFill>
              </a:ln>
            </a:endParaRPr>
          </a:p>
        </p:txBody>
      </p:sp>
      <p:sp>
        <p:nvSpPr>
          <p:cNvPr id="94" name="ZoneTexte 93">
            <a:extLst>
              <a:ext uri="{FF2B5EF4-FFF2-40B4-BE49-F238E27FC236}">
                <a16:creationId xmlns:a16="http://schemas.microsoft.com/office/drawing/2014/main" id="{9C94A422-7E4D-8040-B35F-5C1ADDA66A65}"/>
              </a:ext>
            </a:extLst>
          </p:cNvPr>
          <p:cNvSpPr txBox="1"/>
          <p:nvPr/>
        </p:nvSpPr>
        <p:spPr>
          <a:xfrm>
            <a:off x="9114831" y="3237311"/>
            <a:ext cx="16775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lgorithme</a:t>
            </a:r>
          </a:p>
          <a:p>
            <a:r>
              <a:rPr lang="fr-FR" dirty="0"/>
              <a:t>d’apprentissage</a:t>
            </a:r>
          </a:p>
        </p:txBody>
      </p:sp>
      <p:pic>
        <p:nvPicPr>
          <p:cNvPr id="25" name="Graphique 24" descr="Engrenages">
            <a:extLst>
              <a:ext uri="{FF2B5EF4-FFF2-40B4-BE49-F238E27FC236}">
                <a16:creationId xmlns:a16="http://schemas.microsoft.com/office/drawing/2014/main" id="{69B82BBF-54B5-A44C-AF1B-FF6F147A2E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11575" y="3883642"/>
            <a:ext cx="914400" cy="914400"/>
          </a:xfrm>
          <a:prstGeom prst="rect">
            <a:avLst/>
          </a:prstGeom>
        </p:spPr>
      </p:pic>
      <p:grpSp>
        <p:nvGrpSpPr>
          <p:cNvPr id="95" name="Groupe 94">
            <a:extLst>
              <a:ext uri="{FF2B5EF4-FFF2-40B4-BE49-F238E27FC236}">
                <a16:creationId xmlns:a16="http://schemas.microsoft.com/office/drawing/2014/main" id="{7E43C422-98FC-0642-80EE-3E394DE5115D}"/>
              </a:ext>
            </a:extLst>
          </p:cNvPr>
          <p:cNvGrpSpPr/>
          <p:nvPr/>
        </p:nvGrpSpPr>
        <p:grpSpPr>
          <a:xfrm>
            <a:off x="7178692" y="1950039"/>
            <a:ext cx="686107" cy="702343"/>
            <a:chOff x="8987094" y="1322173"/>
            <a:chExt cx="895158" cy="881890"/>
          </a:xfrm>
        </p:grpSpPr>
        <p:sp>
          <p:nvSpPr>
            <p:cNvPr id="96" name="Ellipse 95">
              <a:extLst>
                <a:ext uri="{FF2B5EF4-FFF2-40B4-BE49-F238E27FC236}">
                  <a16:creationId xmlns:a16="http://schemas.microsoft.com/office/drawing/2014/main" id="{2438FF70-B0F3-C74F-B8FF-AE2FE5474CC9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7" name="Ellipse 96">
              <a:extLst>
                <a:ext uri="{FF2B5EF4-FFF2-40B4-BE49-F238E27FC236}">
                  <a16:creationId xmlns:a16="http://schemas.microsoft.com/office/drawing/2014/main" id="{7A9D3014-80C7-464F-A7C2-149F526ABDA4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98" name="Connecteur droit 97">
              <a:extLst>
                <a:ext uri="{FF2B5EF4-FFF2-40B4-BE49-F238E27FC236}">
                  <a16:creationId xmlns:a16="http://schemas.microsoft.com/office/drawing/2014/main" id="{B088782A-E960-C149-8D16-AFD1EFDB2EB7}"/>
                </a:ext>
              </a:extLst>
            </p:cNvPr>
            <p:cNvCxnSpPr>
              <a:stCxn id="96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Connecteur droit 98">
              <a:extLst>
                <a:ext uri="{FF2B5EF4-FFF2-40B4-BE49-F238E27FC236}">
                  <a16:creationId xmlns:a16="http://schemas.microsoft.com/office/drawing/2014/main" id="{10A63FD9-CCA4-AD42-9621-5546242913F0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Connecteur droit 99">
              <a:extLst>
                <a:ext uri="{FF2B5EF4-FFF2-40B4-BE49-F238E27FC236}">
                  <a16:creationId xmlns:a16="http://schemas.microsoft.com/office/drawing/2014/main" id="{A2357153-CDDC-2140-BA7A-0A11C4CFCE5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Connecteur droit 100">
              <a:extLst>
                <a:ext uri="{FF2B5EF4-FFF2-40B4-BE49-F238E27FC236}">
                  <a16:creationId xmlns:a16="http://schemas.microsoft.com/office/drawing/2014/main" id="{C7CB0E81-576A-0248-9CD4-D5226FF3F5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e 101">
            <a:extLst>
              <a:ext uri="{FF2B5EF4-FFF2-40B4-BE49-F238E27FC236}">
                <a16:creationId xmlns:a16="http://schemas.microsoft.com/office/drawing/2014/main" id="{46C89B8A-10DE-E545-A2AA-0ECA92BDC029}"/>
              </a:ext>
            </a:extLst>
          </p:cNvPr>
          <p:cNvGrpSpPr/>
          <p:nvPr/>
        </p:nvGrpSpPr>
        <p:grpSpPr>
          <a:xfrm>
            <a:off x="7178690" y="2820967"/>
            <a:ext cx="686107" cy="702343"/>
            <a:chOff x="8987094" y="1322173"/>
            <a:chExt cx="895158" cy="881890"/>
          </a:xfrm>
        </p:grpSpPr>
        <p:sp>
          <p:nvSpPr>
            <p:cNvPr id="103" name="Ellipse 102">
              <a:extLst>
                <a:ext uri="{FF2B5EF4-FFF2-40B4-BE49-F238E27FC236}">
                  <a16:creationId xmlns:a16="http://schemas.microsoft.com/office/drawing/2014/main" id="{EE9A47B1-A3A8-8546-9961-9C7A9F0FF4F1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4" name="Ellipse 103">
              <a:extLst>
                <a:ext uri="{FF2B5EF4-FFF2-40B4-BE49-F238E27FC236}">
                  <a16:creationId xmlns:a16="http://schemas.microsoft.com/office/drawing/2014/main" id="{1C1C5FF3-329F-504E-A7F3-6CBE2AE47A6F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05" name="Connecteur droit 104">
              <a:extLst>
                <a:ext uri="{FF2B5EF4-FFF2-40B4-BE49-F238E27FC236}">
                  <a16:creationId xmlns:a16="http://schemas.microsoft.com/office/drawing/2014/main" id="{8534A0FA-4024-654F-B7E4-4BAEF1D97348}"/>
                </a:ext>
              </a:extLst>
            </p:cNvPr>
            <p:cNvCxnSpPr>
              <a:stCxn id="103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necteur droit 105">
              <a:extLst>
                <a:ext uri="{FF2B5EF4-FFF2-40B4-BE49-F238E27FC236}">
                  <a16:creationId xmlns:a16="http://schemas.microsoft.com/office/drawing/2014/main" id="{35AD5405-FD87-4D48-9055-494D651A57BD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necteur droit 106">
              <a:extLst>
                <a:ext uri="{FF2B5EF4-FFF2-40B4-BE49-F238E27FC236}">
                  <a16:creationId xmlns:a16="http://schemas.microsoft.com/office/drawing/2014/main" id="{5FE16958-5596-054E-8072-393F8B60449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necteur droit 107">
              <a:extLst>
                <a:ext uri="{FF2B5EF4-FFF2-40B4-BE49-F238E27FC236}">
                  <a16:creationId xmlns:a16="http://schemas.microsoft.com/office/drawing/2014/main" id="{62085849-E8CB-0F4F-AA3F-D26ABA67E8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oupe 108">
            <a:extLst>
              <a:ext uri="{FF2B5EF4-FFF2-40B4-BE49-F238E27FC236}">
                <a16:creationId xmlns:a16="http://schemas.microsoft.com/office/drawing/2014/main" id="{2C3B8A61-728C-1141-9227-46AB172D3A8E}"/>
              </a:ext>
            </a:extLst>
          </p:cNvPr>
          <p:cNvGrpSpPr/>
          <p:nvPr/>
        </p:nvGrpSpPr>
        <p:grpSpPr>
          <a:xfrm>
            <a:off x="7178690" y="3629670"/>
            <a:ext cx="686107" cy="702343"/>
            <a:chOff x="8987094" y="1322173"/>
            <a:chExt cx="895158" cy="88189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C92F697C-50A9-FF48-8025-50D689E0A1F7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1" name="Ellipse 110">
              <a:extLst>
                <a:ext uri="{FF2B5EF4-FFF2-40B4-BE49-F238E27FC236}">
                  <a16:creationId xmlns:a16="http://schemas.microsoft.com/office/drawing/2014/main" id="{8849EABB-1E89-C84C-B003-73E18317CC70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12" name="Connecteur droit 111">
              <a:extLst>
                <a:ext uri="{FF2B5EF4-FFF2-40B4-BE49-F238E27FC236}">
                  <a16:creationId xmlns:a16="http://schemas.microsoft.com/office/drawing/2014/main" id="{9F7FA0D1-0D98-B84A-9B35-F638F57CDCB7}"/>
                </a:ext>
              </a:extLst>
            </p:cNvPr>
            <p:cNvCxnSpPr>
              <a:stCxn id="110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necteur droit 112">
              <a:extLst>
                <a:ext uri="{FF2B5EF4-FFF2-40B4-BE49-F238E27FC236}">
                  <a16:creationId xmlns:a16="http://schemas.microsoft.com/office/drawing/2014/main" id="{A072B4E8-5220-3A4C-AFCA-BE8A512FB40A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necteur droit 113">
              <a:extLst>
                <a:ext uri="{FF2B5EF4-FFF2-40B4-BE49-F238E27FC236}">
                  <a16:creationId xmlns:a16="http://schemas.microsoft.com/office/drawing/2014/main" id="{20E74858-11C7-6344-9CEF-EE39B825C78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necteur droit 114">
              <a:extLst>
                <a:ext uri="{FF2B5EF4-FFF2-40B4-BE49-F238E27FC236}">
                  <a16:creationId xmlns:a16="http://schemas.microsoft.com/office/drawing/2014/main" id="{E89C9923-269E-044B-AEA9-E56E043F6E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6" name="Groupe 115">
            <a:extLst>
              <a:ext uri="{FF2B5EF4-FFF2-40B4-BE49-F238E27FC236}">
                <a16:creationId xmlns:a16="http://schemas.microsoft.com/office/drawing/2014/main" id="{73616FD9-74CC-C743-B51B-E5127ED9203B}"/>
              </a:ext>
            </a:extLst>
          </p:cNvPr>
          <p:cNvGrpSpPr/>
          <p:nvPr/>
        </p:nvGrpSpPr>
        <p:grpSpPr>
          <a:xfrm>
            <a:off x="7178690" y="4519369"/>
            <a:ext cx="686107" cy="702343"/>
            <a:chOff x="8987094" y="1322173"/>
            <a:chExt cx="895158" cy="881890"/>
          </a:xfrm>
        </p:grpSpPr>
        <p:sp>
          <p:nvSpPr>
            <p:cNvPr id="117" name="Ellipse 116">
              <a:extLst>
                <a:ext uri="{FF2B5EF4-FFF2-40B4-BE49-F238E27FC236}">
                  <a16:creationId xmlns:a16="http://schemas.microsoft.com/office/drawing/2014/main" id="{EB4C1BC0-C2AC-3E41-BB93-B1324E51899C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8" name="Ellipse 117">
              <a:extLst>
                <a:ext uri="{FF2B5EF4-FFF2-40B4-BE49-F238E27FC236}">
                  <a16:creationId xmlns:a16="http://schemas.microsoft.com/office/drawing/2014/main" id="{2C2D5CDF-B2B8-494A-84A8-2668861B2415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19" name="Connecteur droit 118">
              <a:extLst>
                <a:ext uri="{FF2B5EF4-FFF2-40B4-BE49-F238E27FC236}">
                  <a16:creationId xmlns:a16="http://schemas.microsoft.com/office/drawing/2014/main" id="{FB5726C3-B55E-384D-9B7B-CB82D465CCAF}"/>
                </a:ext>
              </a:extLst>
            </p:cNvPr>
            <p:cNvCxnSpPr>
              <a:stCxn id="117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necteur droit 119">
              <a:extLst>
                <a:ext uri="{FF2B5EF4-FFF2-40B4-BE49-F238E27FC236}">
                  <a16:creationId xmlns:a16="http://schemas.microsoft.com/office/drawing/2014/main" id="{6CF1DB2A-F7D5-FC41-AE2F-07A878AD9015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necteur droit 120">
              <a:extLst>
                <a:ext uri="{FF2B5EF4-FFF2-40B4-BE49-F238E27FC236}">
                  <a16:creationId xmlns:a16="http://schemas.microsoft.com/office/drawing/2014/main" id="{CA201873-87A3-3E48-98E2-16D16DF4FA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necteur droit 121">
              <a:extLst>
                <a:ext uri="{FF2B5EF4-FFF2-40B4-BE49-F238E27FC236}">
                  <a16:creationId xmlns:a16="http://schemas.microsoft.com/office/drawing/2014/main" id="{513A32FA-A559-D746-83F4-95B6C8D861D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7809902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pprentissage supervisé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F098FE1-D256-8A4A-8F50-F73048E96C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1839149"/>
            <a:ext cx="755742" cy="87507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691C021-6DDF-5245-B58F-2BDF4CCA3E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2714221"/>
            <a:ext cx="755742" cy="87507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EACFD7C-4674-9B49-9343-5607B083F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3589293"/>
            <a:ext cx="755742" cy="87507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2E88C0A-FAF0-DD41-9FFB-954B3EF9CD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4464365"/>
            <a:ext cx="755742" cy="875072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2EDAF44D-0882-EF43-B892-BB89B6C932B8}"/>
              </a:ext>
            </a:extLst>
          </p:cNvPr>
          <p:cNvSpPr txBox="1"/>
          <p:nvPr/>
        </p:nvSpPr>
        <p:spPr>
          <a:xfrm>
            <a:off x="1114321" y="1469817"/>
            <a:ext cx="13933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donné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8EEF01DA-C240-204C-A338-887B96BD8B02}"/>
              </a:ext>
            </a:extLst>
          </p:cNvPr>
          <p:cNvSpPr txBox="1"/>
          <p:nvPr/>
        </p:nvSpPr>
        <p:spPr>
          <a:xfrm>
            <a:off x="6632802" y="1514705"/>
            <a:ext cx="1969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Les cibles à prédire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F929922F-EA43-0B45-8D75-B0B19B9B39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1913" t="19821" r="-1504" b="71924"/>
          <a:stretch/>
        </p:blipFill>
        <p:spPr>
          <a:xfrm>
            <a:off x="3315097" y="2697610"/>
            <a:ext cx="1136822" cy="1157471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AC80E237-A3D3-B64A-B956-A38F904B1F98}"/>
              </a:ext>
            </a:extLst>
          </p:cNvPr>
          <p:cNvSpPr txBox="1"/>
          <p:nvPr/>
        </p:nvSpPr>
        <p:spPr>
          <a:xfrm>
            <a:off x="3150661" y="1473895"/>
            <a:ext cx="1218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Un modèle</a:t>
            </a:r>
          </a:p>
        </p:txBody>
      </p:sp>
      <p:grpSp>
        <p:nvGrpSpPr>
          <p:cNvPr id="53" name="Groupe 52">
            <a:extLst>
              <a:ext uri="{FF2B5EF4-FFF2-40B4-BE49-F238E27FC236}">
                <a16:creationId xmlns:a16="http://schemas.microsoft.com/office/drawing/2014/main" id="{2157F51E-F4E4-A841-8FA1-D3EF4DC71F9B}"/>
              </a:ext>
            </a:extLst>
          </p:cNvPr>
          <p:cNvGrpSpPr/>
          <p:nvPr/>
        </p:nvGrpSpPr>
        <p:grpSpPr>
          <a:xfrm>
            <a:off x="4969365" y="1900343"/>
            <a:ext cx="686107" cy="702343"/>
            <a:chOff x="8987094" y="1322173"/>
            <a:chExt cx="895158" cy="881890"/>
          </a:xfrm>
        </p:grpSpPr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6121F0C2-CAA1-9E42-94B7-4CA6484F467D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041866B9-70D1-8C41-8192-0BD4B53DDD8D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56" name="Connecteur droit 55">
              <a:extLst>
                <a:ext uri="{FF2B5EF4-FFF2-40B4-BE49-F238E27FC236}">
                  <a16:creationId xmlns:a16="http://schemas.microsoft.com/office/drawing/2014/main" id="{EC604E8A-FA08-A945-8DA1-D218740C3A3B}"/>
                </a:ext>
              </a:extLst>
            </p:cNvPr>
            <p:cNvCxnSpPr>
              <a:stCxn id="54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eur droit 56">
              <a:extLst>
                <a:ext uri="{FF2B5EF4-FFF2-40B4-BE49-F238E27FC236}">
                  <a16:creationId xmlns:a16="http://schemas.microsoft.com/office/drawing/2014/main" id="{92C7E50A-CA99-9D46-8BD1-3FB620D24BDD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eur droit 57">
              <a:extLst>
                <a:ext uri="{FF2B5EF4-FFF2-40B4-BE49-F238E27FC236}">
                  <a16:creationId xmlns:a16="http://schemas.microsoft.com/office/drawing/2014/main" id="{349FF2B4-0ECF-2D49-B43C-F2DF5AB6DB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eur droit 58">
              <a:extLst>
                <a:ext uri="{FF2B5EF4-FFF2-40B4-BE49-F238E27FC236}">
                  <a16:creationId xmlns:a16="http://schemas.microsoft.com/office/drawing/2014/main" id="{25BEDC56-C516-3A4D-B289-CB052430DF6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Connecteur droit avec flèche 60">
            <a:extLst>
              <a:ext uri="{FF2B5EF4-FFF2-40B4-BE49-F238E27FC236}">
                <a16:creationId xmlns:a16="http://schemas.microsoft.com/office/drawing/2014/main" id="{66424EC5-C3B0-9B45-A49F-58F2E3BF697A}"/>
              </a:ext>
            </a:extLst>
          </p:cNvPr>
          <p:cNvCxnSpPr>
            <a:cxnSpLocks/>
          </p:cNvCxnSpPr>
          <p:nvPr/>
        </p:nvCxnSpPr>
        <p:spPr>
          <a:xfrm flipV="1">
            <a:off x="2405198" y="3294516"/>
            <a:ext cx="822572" cy="89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id="{2135FB97-F712-CC4C-8FA2-8451309DEB2A}"/>
              </a:ext>
            </a:extLst>
          </p:cNvPr>
          <p:cNvCxnSpPr/>
          <p:nvPr/>
        </p:nvCxnSpPr>
        <p:spPr>
          <a:xfrm flipV="1">
            <a:off x="4345277" y="3286165"/>
            <a:ext cx="624428" cy="41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ZoneTexte 63">
            <a:extLst>
              <a:ext uri="{FF2B5EF4-FFF2-40B4-BE49-F238E27FC236}">
                <a16:creationId xmlns:a16="http://schemas.microsoft.com/office/drawing/2014/main" id="{1ECA9A1D-4689-6643-9194-107504500EE9}"/>
              </a:ext>
            </a:extLst>
          </p:cNvPr>
          <p:cNvSpPr txBox="1"/>
          <p:nvPr/>
        </p:nvSpPr>
        <p:spPr>
          <a:xfrm>
            <a:off x="4635667" y="1473895"/>
            <a:ext cx="15906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Les prédictions</a:t>
            </a:r>
          </a:p>
        </p:txBody>
      </p:sp>
      <p:pic>
        <p:nvPicPr>
          <p:cNvPr id="65" name="Image 64">
            <a:extLst>
              <a:ext uri="{FF2B5EF4-FFF2-40B4-BE49-F238E27FC236}">
                <a16:creationId xmlns:a16="http://schemas.microsoft.com/office/drawing/2014/main" id="{89813A7E-0886-7745-8DA0-8924389991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313" t="55121" r="29495" b="39257"/>
          <a:stretch/>
        </p:blipFill>
        <p:spPr>
          <a:xfrm>
            <a:off x="3356419" y="4381046"/>
            <a:ext cx="934785" cy="761962"/>
          </a:xfrm>
          <a:prstGeom prst="rect">
            <a:avLst/>
          </a:prstGeom>
        </p:spPr>
      </p:pic>
      <p:sp>
        <p:nvSpPr>
          <p:cNvPr id="66" name="ZoneTexte 65">
            <a:extLst>
              <a:ext uri="{FF2B5EF4-FFF2-40B4-BE49-F238E27FC236}">
                <a16:creationId xmlns:a16="http://schemas.microsoft.com/office/drawing/2014/main" id="{B98848F0-5DB8-BA45-9ABE-96D30ADDB4D2}"/>
              </a:ext>
            </a:extLst>
          </p:cNvPr>
          <p:cNvSpPr txBox="1"/>
          <p:nvPr/>
        </p:nvSpPr>
        <p:spPr>
          <a:xfrm>
            <a:off x="2992974" y="4999032"/>
            <a:ext cx="16616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paramètres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B8EA24ED-21B3-F147-AD81-F093A959AD8A}"/>
              </a:ext>
            </a:extLst>
          </p:cNvPr>
          <p:cNvCxnSpPr>
            <a:cxnSpLocks/>
          </p:cNvCxnSpPr>
          <p:nvPr/>
        </p:nvCxnSpPr>
        <p:spPr>
          <a:xfrm flipV="1">
            <a:off x="3837071" y="3796289"/>
            <a:ext cx="6949" cy="5847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Groupe 73">
            <a:extLst>
              <a:ext uri="{FF2B5EF4-FFF2-40B4-BE49-F238E27FC236}">
                <a16:creationId xmlns:a16="http://schemas.microsoft.com/office/drawing/2014/main" id="{E8362557-E8E0-5245-93BF-12A6D296B9F6}"/>
              </a:ext>
            </a:extLst>
          </p:cNvPr>
          <p:cNvGrpSpPr/>
          <p:nvPr/>
        </p:nvGrpSpPr>
        <p:grpSpPr>
          <a:xfrm>
            <a:off x="4969038" y="3629670"/>
            <a:ext cx="686107" cy="702343"/>
            <a:chOff x="8987094" y="1322173"/>
            <a:chExt cx="895158" cy="881890"/>
          </a:xfrm>
        </p:grpSpPr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A304F549-C826-5C49-A0C2-FA11E33390B6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6" name="Ellipse 75">
              <a:extLst>
                <a:ext uri="{FF2B5EF4-FFF2-40B4-BE49-F238E27FC236}">
                  <a16:creationId xmlns:a16="http://schemas.microsoft.com/office/drawing/2014/main" id="{C703C3D9-3F0D-9B4D-A089-532C86E9392B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77" name="Connecteur droit 76">
              <a:extLst>
                <a:ext uri="{FF2B5EF4-FFF2-40B4-BE49-F238E27FC236}">
                  <a16:creationId xmlns:a16="http://schemas.microsoft.com/office/drawing/2014/main" id="{16D08195-36F7-EB4D-8886-23D7567ED815}"/>
                </a:ext>
              </a:extLst>
            </p:cNvPr>
            <p:cNvCxnSpPr>
              <a:stCxn id="75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eur droit 77">
              <a:extLst>
                <a:ext uri="{FF2B5EF4-FFF2-40B4-BE49-F238E27FC236}">
                  <a16:creationId xmlns:a16="http://schemas.microsoft.com/office/drawing/2014/main" id="{142BAE68-2674-E844-A398-C80D62F99EB9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eur droit 78">
              <a:extLst>
                <a:ext uri="{FF2B5EF4-FFF2-40B4-BE49-F238E27FC236}">
                  <a16:creationId xmlns:a16="http://schemas.microsoft.com/office/drawing/2014/main" id="{93D417DF-4D19-8D4E-B362-95E29D5A39C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eur droit 79">
              <a:extLst>
                <a:ext uri="{FF2B5EF4-FFF2-40B4-BE49-F238E27FC236}">
                  <a16:creationId xmlns:a16="http://schemas.microsoft.com/office/drawing/2014/main" id="{3FD7D54F-914C-6740-8C33-76E26E32BE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e 80">
            <a:extLst>
              <a:ext uri="{FF2B5EF4-FFF2-40B4-BE49-F238E27FC236}">
                <a16:creationId xmlns:a16="http://schemas.microsoft.com/office/drawing/2014/main" id="{5149FBAA-244E-BA47-A62A-C35FDB33E4F5}"/>
              </a:ext>
            </a:extLst>
          </p:cNvPr>
          <p:cNvGrpSpPr/>
          <p:nvPr/>
        </p:nvGrpSpPr>
        <p:grpSpPr>
          <a:xfrm>
            <a:off x="4969037" y="4529846"/>
            <a:ext cx="686107" cy="702343"/>
            <a:chOff x="8987094" y="1322173"/>
            <a:chExt cx="895158" cy="881890"/>
          </a:xfrm>
        </p:grpSpPr>
        <p:sp>
          <p:nvSpPr>
            <p:cNvPr id="82" name="Ellipse 81">
              <a:extLst>
                <a:ext uri="{FF2B5EF4-FFF2-40B4-BE49-F238E27FC236}">
                  <a16:creationId xmlns:a16="http://schemas.microsoft.com/office/drawing/2014/main" id="{16F7A48C-EA4A-DE48-A91C-B17F4F1B0B8D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73670061-BE3D-6A47-A110-A52D73B24A22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84" name="Connecteur droit 83">
              <a:extLst>
                <a:ext uri="{FF2B5EF4-FFF2-40B4-BE49-F238E27FC236}">
                  <a16:creationId xmlns:a16="http://schemas.microsoft.com/office/drawing/2014/main" id="{E1BF0BCC-FF08-584C-B1D5-F76C22A16322}"/>
                </a:ext>
              </a:extLst>
            </p:cNvPr>
            <p:cNvCxnSpPr>
              <a:stCxn id="82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77FBD3BF-11F9-5746-96B4-77162E924514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Connecteur droit 85">
              <a:extLst>
                <a:ext uri="{FF2B5EF4-FFF2-40B4-BE49-F238E27FC236}">
                  <a16:creationId xmlns:a16="http://schemas.microsoft.com/office/drawing/2014/main" id="{5B895976-E285-FD48-8ECB-1D730683362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Connecteur droit 86">
              <a:extLst>
                <a:ext uri="{FF2B5EF4-FFF2-40B4-BE49-F238E27FC236}">
                  <a16:creationId xmlns:a16="http://schemas.microsoft.com/office/drawing/2014/main" id="{F377434A-BDDC-B64B-9EB3-7761A84B6D8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8" name="Connecteur droit avec flèche 87">
            <a:extLst>
              <a:ext uri="{FF2B5EF4-FFF2-40B4-BE49-F238E27FC236}">
                <a16:creationId xmlns:a16="http://schemas.microsoft.com/office/drawing/2014/main" id="{3F51A201-4B19-A64E-A586-59C119A3C96C}"/>
              </a:ext>
            </a:extLst>
          </p:cNvPr>
          <p:cNvCxnSpPr>
            <a:cxnSpLocks/>
          </p:cNvCxnSpPr>
          <p:nvPr/>
        </p:nvCxnSpPr>
        <p:spPr>
          <a:xfrm flipV="1">
            <a:off x="2482119" y="3454666"/>
            <a:ext cx="745651" cy="623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avec flèche 88">
            <a:extLst>
              <a:ext uri="{FF2B5EF4-FFF2-40B4-BE49-F238E27FC236}">
                <a16:creationId xmlns:a16="http://schemas.microsoft.com/office/drawing/2014/main" id="{70607F7D-2221-B946-BB47-866CD5D65DD2}"/>
              </a:ext>
            </a:extLst>
          </p:cNvPr>
          <p:cNvCxnSpPr>
            <a:cxnSpLocks/>
          </p:cNvCxnSpPr>
          <p:nvPr/>
        </p:nvCxnSpPr>
        <p:spPr>
          <a:xfrm flipV="1">
            <a:off x="2324145" y="3605781"/>
            <a:ext cx="947182" cy="1393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eur droit avec flèche 89">
            <a:extLst>
              <a:ext uri="{FF2B5EF4-FFF2-40B4-BE49-F238E27FC236}">
                <a16:creationId xmlns:a16="http://schemas.microsoft.com/office/drawing/2014/main" id="{EA1CB215-E117-6E46-8B10-FB9FD44D0499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2324145" y="2364072"/>
            <a:ext cx="990952" cy="9122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cteur droit avec flèche 90">
            <a:extLst>
              <a:ext uri="{FF2B5EF4-FFF2-40B4-BE49-F238E27FC236}">
                <a16:creationId xmlns:a16="http://schemas.microsoft.com/office/drawing/2014/main" id="{5D12192D-9CCF-994E-8FC3-9B49337B782F}"/>
              </a:ext>
            </a:extLst>
          </p:cNvPr>
          <p:cNvCxnSpPr>
            <a:cxnSpLocks/>
          </p:cNvCxnSpPr>
          <p:nvPr/>
        </p:nvCxnSpPr>
        <p:spPr>
          <a:xfrm flipV="1">
            <a:off x="4303436" y="2274524"/>
            <a:ext cx="745651" cy="623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C1DCA7A6-9DBF-5A42-8B1B-91A8DC69127E}"/>
              </a:ext>
            </a:extLst>
          </p:cNvPr>
          <p:cNvCxnSpPr>
            <a:cxnSpLocks/>
          </p:cNvCxnSpPr>
          <p:nvPr/>
        </p:nvCxnSpPr>
        <p:spPr>
          <a:xfrm>
            <a:off x="4247696" y="3839913"/>
            <a:ext cx="776417" cy="8178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eur droit avec flèche 92">
            <a:extLst>
              <a:ext uri="{FF2B5EF4-FFF2-40B4-BE49-F238E27FC236}">
                <a16:creationId xmlns:a16="http://schemas.microsoft.com/office/drawing/2014/main" id="{6540BD50-365C-E247-B2D1-DF9554F96477}"/>
              </a:ext>
            </a:extLst>
          </p:cNvPr>
          <p:cNvCxnSpPr>
            <a:cxnSpLocks/>
          </p:cNvCxnSpPr>
          <p:nvPr/>
        </p:nvCxnSpPr>
        <p:spPr>
          <a:xfrm>
            <a:off x="4349801" y="3455401"/>
            <a:ext cx="582770" cy="3920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que 7" descr="Point d’interrogation">
            <a:extLst>
              <a:ext uri="{FF2B5EF4-FFF2-40B4-BE49-F238E27FC236}">
                <a16:creationId xmlns:a16="http://schemas.microsoft.com/office/drawing/2014/main" id="{A9E40182-4718-994C-A0DF-6635F3E7D9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09668" y="1878408"/>
            <a:ext cx="661159" cy="661159"/>
          </a:xfrm>
          <a:prstGeom prst="rect">
            <a:avLst/>
          </a:prstGeom>
        </p:spPr>
      </p:pic>
      <p:pic>
        <p:nvPicPr>
          <p:cNvPr id="123" name="Graphique 122" descr="Point d’interrogation">
            <a:extLst>
              <a:ext uri="{FF2B5EF4-FFF2-40B4-BE49-F238E27FC236}">
                <a16:creationId xmlns:a16="http://schemas.microsoft.com/office/drawing/2014/main" id="{7915D0CC-17E1-7447-958E-57B610302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09668" y="2761121"/>
            <a:ext cx="661159" cy="661159"/>
          </a:xfrm>
          <a:prstGeom prst="rect">
            <a:avLst/>
          </a:prstGeom>
        </p:spPr>
      </p:pic>
      <p:pic>
        <p:nvPicPr>
          <p:cNvPr id="124" name="Graphique 123" descr="Point d’interrogation">
            <a:extLst>
              <a:ext uri="{FF2B5EF4-FFF2-40B4-BE49-F238E27FC236}">
                <a16:creationId xmlns:a16="http://schemas.microsoft.com/office/drawing/2014/main" id="{7D2762E8-B2EB-9949-93C2-AAAE281C0F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09667" y="3657275"/>
            <a:ext cx="661159" cy="661159"/>
          </a:xfrm>
          <a:prstGeom prst="rect">
            <a:avLst/>
          </a:prstGeom>
        </p:spPr>
      </p:pic>
      <p:pic>
        <p:nvPicPr>
          <p:cNvPr id="125" name="Graphique 124" descr="Point d’interrogation">
            <a:extLst>
              <a:ext uri="{FF2B5EF4-FFF2-40B4-BE49-F238E27FC236}">
                <a16:creationId xmlns:a16="http://schemas.microsoft.com/office/drawing/2014/main" id="{1D1B4D51-A149-214A-81DC-35F76EE235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09667" y="4553429"/>
            <a:ext cx="661159" cy="661159"/>
          </a:xfrm>
          <a:prstGeom prst="rect">
            <a:avLst/>
          </a:prstGeom>
        </p:spPr>
      </p:pic>
      <p:grpSp>
        <p:nvGrpSpPr>
          <p:cNvPr id="126" name="Groupe 125">
            <a:extLst>
              <a:ext uri="{FF2B5EF4-FFF2-40B4-BE49-F238E27FC236}">
                <a16:creationId xmlns:a16="http://schemas.microsoft.com/office/drawing/2014/main" id="{7518E492-2520-2346-99D3-3AA12DDCFE7A}"/>
              </a:ext>
            </a:extLst>
          </p:cNvPr>
          <p:cNvGrpSpPr/>
          <p:nvPr/>
        </p:nvGrpSpPr>
        <p:grpSpPr>
          <a:xfrm>
            <a:off x="4969364" y="2811116"/>
            <a:ext cx="686107" cy="702343"/>
            <a:chOff x="8987094" y="1322173"/>
            <a:chExt cx="895158" cy="881890"/>
          </a:xfrm>
        </p:grpSpPr>
        <p:sp>
          <p:nvSpPr>
            <p:cNvPr id="127" name="Ellipse 126">
              <a:extLst>
                <a:ext uri="{FF2B5EF4-FFF2-40B4-BE49-F238E27FC236}">
                  <a16:creationId xmlns:a16="http://schemas.microsoft.com/office/drawing/2014/main" id="{5B0A7F80-45DC-164B-8057-E7557CCD0951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8" name="Ellipse 127">
              <a:extLst>
                <a:ext uri="{FF2B5EF4-FFF2-40B4-BE49-F238E27FC236}">
                  <a16:creationId xmlns:a16="http://schemas.microsoft.com/office/drawing/2014/main" id="{A887725B-A03E-664D-8E99-2F523B8BCA1C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29" name="Connecteur droit 128">
              <a:extLst>
                <a:ext uri="{FF2B5EF4-FFF2-40B4-BE49-F238E27FC236}">
                  <a16:creationId xmlns:a16="http://schemas.microsoft.com/office/drawing/2014/main" id="{6BD412CB-2EE0-DC47-B30C-105F1FCDE263}"/>
                </a:ext>
              </a:extLst>
            </p:cNvPr>
            <p:cNvCxnSpPr>
              <a:stCxn id="127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Connecteur droit 129">
              <a:extLst>
                <a:ext uri="{FF2B5EF4-FFF2-40B4-BE49-F238E27FC236}">
                  <a16:creationId xmlns:a16="http://schemas.microsoft.com/office/drawing/2014/main" id="{599CE9AD-8703-524B-9A2E-DD9C67BBAAB4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Connecteur droit 130">
              <a:extLst>
                <a:ext uri="{FF2B5EF4-FFF2-40B4-BE49-F238E27FC236}">
                  <a16:creationId xmlns:a16="http://schemas.microsoft.com/office/drawing/2014/main" id="{227D7C60-E732-F24F-ADAD-E9F317902D3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Connecteur droit 131">
              <a:extLst>
                <a:ext uri="{FF2B5EF4-FFF2-40B4-BE49-F238E27FC236}">
                  <a16:creationId xmlns:a16="http://schemas.microsoft.com/office/drawing/2014/main" id="{A6EA8617-F69F-C24C-BC75-2FEA43F46E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222846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pprentissage supervisé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9C184C7-51E6-8941-BECF-C0DBBE5F61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643" y="1254374"/>
            <a:ext cx="4600090" cy="4609713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2A47DA30-DE51-4B42-8517-FFD6595E7F3C}"/>
              </a:ext>
            </a:extLst>
          </p:cNvPr>
          <p:cNvSpPr txBox="1"/>
          <p:nvPr/>
        </p:nvSpPr>
        <p:spPr>
          <a:xfrm>
            <a:off x="6095999" y="3105834"/>
            <a:ext cx="42911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modèles différents seront capables de</a:t>
            </a:r>
          </a:p>
          <a:p>
            <a:r>
              <a:rPr lang="fr-FR" dirty="0"/>
              <a:t>créer des frontières de décisions différentes</a:t>
            </a:r>
          </a:p>
        </p:txBody>
      </p:sp>
    </p:spTree>
    <p:extLst>
      <p:ext uri="{BB962C8B-B14F-4D97-AF65-F5344CB8AC3E}">
        <p14:creationId xmlns:p14="http://schemas.microsoft.com/office/powerpoint/2010/main" val="149888791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Des exemples de tâches d’apprentissage supervisé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8DA6943-E022-C046-AD55-15AE3B9F37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51" t="15873" r="4090" b="-2273"/>
          <a:stretch/>
        </p:blipFill>
        <p:spPr>
          <a:xfrm>
            <a:off x="1948069" y="1469817"/>
            <a:ext cx="9448812" cy="4772785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1FFC3994-5046-AC46-9C68-9BF981E51DD4}"/>
              </a:ext>
            </a:extLst>
          </p:cNvPr>
          <p:cNvSpPr/>
          <p:nvPr/>
        </p:nvSpPr>
        <p:spPr>
          <a:xfrm>
            <a:off x="8925339" y="4154556"/>
            <a:ext cx="1202635" cy="944217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dirty="0"/>
              <a:t>Smartch</a:t>
            </a:r>
          </a:p>
        </p:txBody>
      </p:sp>
    </p:spTree>
    <p:extLst>
      <p:ext uri="{BB962C8B-B14F-4D97-AF65-F5344CB8AC3E}">
        <p14:creationId xmlns:p14="http://schemas.microsoft.com/office/powerpoint/2010/main" val="422428826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781B2DB0-046A-3D4B-921B-71D7A8345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métiers du Machine Learning</a:t>
            </a:r>
          </a:p>
        </p:txBody>
      </p:sp>
    </p:spTree>
    <p:extLst>
      <p:ext uri="{BB962C8B-B14F-4D97-AF65-F5344CB8AC3E}">
        <p14:creationId xmlns:p14="http://schemas.microsoft.com/office/powerpoint/2010/main" val="4792154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xe des métiers du Machine Learning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48" name="Graphique 47" descr="Internet">
            <a:extLst>
              <a:ext uri="{FF2B5EF4-FFF2-40B4-BE49-F238E27FC236}">
                <a16:creationId xmlns:a16="http://schemas.microsoft.com/office/drawing/2014/main" id="{1831A22E-FDE1-8C42-BED3-8F70F48383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8869" y="2114216"/>
            <a:ext cx="914400" cy="914400"/>
          </a:xfrm>
          <a:prstGeom prst="rect">
            <a:avLst/>
          </a:prstGeom>
        </p:spPr>
      </p:pic>
      <p:pic>
        <p:nvPicPr>
          <p:cNvPr id="50" name="Graphique 49" descr="Soudeur">
            <a:extLst>
              <a:ext uri="{FF2B5EF4-FFF2-40B4-BE49-F238E27FC236}">
                <a16:creationId xmlns:a16="http://schemas.microsoft.com/office/drawing/2014/main" id="{8FA1BC38-52F1-5846-9836-BA97181503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63084" y="3910559"/>
            <a:ext cx="914400" cy="914400"/>
          </a:xfrm>
          <a:prstGeom prst="rect">
            <a:avLst/>
          </a:prstGeom>
        </p:spPr>
      </p:pic>
      <p:pic>
        <p:nvPicPr>
          <p:cNvPr id="51" name="Graphique 50" descr="Ouvrier du bâtiment">
            <a:extLst>
              <a:ext uri="{FF2B5EF4-FFF2-40B4-BE49-F238E27FC236}">
                <a16:creationId xmlns:a16="http://schemas.microsoft.com/office/drawing/2014/main" id="{6794F82F-1E99-F847-904A-5089FADBFA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18854" y="3910559"/>
            <a:ext cx="914400" cy="914400"/>
          </a:xfrm>
          <a:prstGeom prst="rect">
            <a:avLst/>
          </a:prstGeom>
        </p:spPr>
      </p:pic>
      <p:pic>
        <p:nvPicPr>
          <p:cNvPr id="52" name="Graphique 51" descr="Journal">
            <a:extLst>
              <a:ext uri="{FF2B5EF4-FFF2-40B4-BE49-F238E27FC236}">
                <a16:creationId xmlns:a16="http://schemas.microsoft.com/office/drawing/2014/main" id="{FE3C90CA-E6C9-E241-94AC-125FB0C7B9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4685" y="4004661"/>
            <a:ext cx="914400" cy="914400"/>
          </a:xfrm>
          <a:prstGeom prst="rect">
            <a:avLst/>
          </a:prstGeom>
        </p:spPr>
      </p:pic>
      <p:pic>
        <p:nvPicPr>
          <p:cNvPr id="53" name="Graphique 52" descr="Tableau">
            <a:extLst>
              <a:ext uri="{FF2B5EF4-FFF2-40B4-BE49-F238E27FC236}">
                <a16:creationId xmlns:a16="http://schemas.microsoft.com/office/drawing/2014/main" id="{8BB22330-0162-E045-9BFE-2AD6FD8D7D0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00242" y="4948070"/>
            <a:ext cx="914400" cy="914400"/>
          </a:xfrm>
          <a:prstGeom prst="rect">
            <a:avLst/>
          </a:prstGeom>
        </p:spPr>
      </p:pic>
      <p:pic>
        <p:nvPicPr>
          <p:cNvPr id="54" name="Graphique 53" descr="Base de données">
            <a:extLst>
              <a:ext uri="{FF2B5EF4-FFF2-40B4-BE49-F238E27FC236}">
                <a16:creationId xmlns:a16="http://schemas.microsoft.com/office/drawing/2014/main" id="{72002CE5-70A0-8B4E-B5F2-8AA2E508D80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11621" y="4889766"/>
            <a:ext cx="914400" cy="914400"/>
          </a:xfrm>
          <a:prstGeom prst="rect">
            <a:avLst/>
          </a:prstGeom>
        </p:spPr>
      </p:pic>
      <p:pic>
        <p:nvPicPr>
          <p:cNvPr id="55" name="Graphique 54" descr="Tête avec engrenages">
            <a:extLst>
              <a:ext uri="{FF2B5EF4-FFF2-40B4-BE49-F238E27FC236}">
                <a16:creationId xmlns:a16="http://schemas.microsoft.com/office/drawing/2014/main" id="{412155C7-DAED-4342-9582-BA4EA8F7B51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451929" y="4948070"/>
            <a:ext cx="914400" cy="914400"/>
          </a:xfrm>
          <a:prstGeom prst="rect">
            <a:avLst/>
          </a:prstGeom>
        </p:spPr>
      </p:pic>
      <p:pic>
        <p:nvPicPr>
          <p:cNvPr id="56" name="Graphique 55" descr="Engrenages">
            <a:extLst>
              <a:ext uri="{FF2B5EF4-FFF2-40B4-BE49-F238E27FC236}">
                <a16:creationId xmlns:a16="http://schemas.microsoft.com/office/drawing/2014/main" id="{C7062E1C-4F55-4C4A-B407-4DF6C6372DB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348684" y="4954513"/>
            <a:ext cx="914400" cy="914400"/>
          </a:xfrm>
          <a:prstGeom prst="rect">
            <a:avLst/>
          </a:prstGeom>
        </p:spPr>
      </p:pic>
      <p:pic>
        <p:nvPicPr>
          <p:cNvPr id="57" name="Graphique 56" descr="Chef">
            <a:extLst>
              <a:ext uri="{FF2B5EF4-FFF2-40B4-BE49-F238E27FC236}">
                <a16:creationId xmlns:a16="http://schemas.microsoft.com/office/drawing/2014/main" id="{3D9260AE-4015-B645-8E1C-A0C73FCDB25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00242" y="3910559"/>
            <a:ext cx="914400" cy="914400"/>
          </a:xfrm>
          <a:prstGeom prst="rect">
            <a:avLst/>
          </a:prstGeom>
        </p:spPr>
      </p:pic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AA1C6EF8-704B-054F-B64A-D52055263123}"/>
              </a:ext>
            </a:extLst>
          </p:cNvPr>
          <p:cNvCxnSpPr>
            <a:stCxn id="55" idx="1"/>
            <a:endCxn id="56" idx="3"/>
          </p:cNvCxnSpPr>
          <p:nvPr/>
        </p:nvCxnSpPr>
        <p:spPr>
          <a:xfrm flipH="1">
            <a:off x="7263084" y="5405270"/>
            <a:ext cx="1188845" cy="64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avec flèche 58">
            <a:extLst>
              <a:ext uri="{FF2B5EF4-FFF2-40B4-BE49-F238E27FC236}">
                <a16:creationId xmlns:a16="http://schemas.microsoft.com/office/drawing/2014/main" id="{FAA224A3-B20E-F14D-80A3-C169E53D40B8}"/>
              </a:ext>
            </a:extLst>
          </p:cNvPr>
          <p:cNvCxnSpPr>
            <a:cxnSpLocks/>
            <a:endCxn id="56" idx="1"/>
          </p:cNvCxnSpPr>
          <p:nvPr/>
        </p:nvCxnSpPr>
        <p:spPr>
          <a:xfrm>
            <a:off x="5514643" y="5408491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avec flèche 59">
            <a:extLst>
              <a:ext uri="{FF2B5EF4-FFF2-40B4-BE49-F238E27FC236}">
                <a16:creationId xmlns:a16="http://schemas.microsoft.com/office/drawing/2014/main" id="{64258ED6-7F05-6C42-AFE3-B46BFEA5FDF4}"/>
              </a:ext>
            </a:extLst>
          </p:cNvPr>
          <p:cNvCxnSpPr>
            <a:cxnSpLocks/>
          </p:cNvCxnSpPr>
          <p:nvPr/>
        </p:nvCxnSpPr>
        <p:spPr>
          <a:xfrm>
            <a:off x="3684267" y="5411713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droit avec flèche 60">
            <a:extLst>
              <a:ext uri="{FF2B5EF4-FFF2-40B4-BE49-F238E27FC236}">
                <a16:creationId xmlns:a16="http://schemas.microsoft.com/office/drawing/2014/main" id="{B7552C5A-FC03-D144-BEA9-88CB7F2920C5}"/>
              </a:ext>
            </a:extLst>
          </p:cNvPr>
          <p:cNvCxnSpPr>
            <a:cxnSpLocks/>
          </p:cNvCxnSpPr>
          <p:nvPr/>
        </p:nvCxnSpPr>
        <p:spPr>
          <a:xfrm flipH="1">
            <a:off x="1271885" y="3117611"/>
            <a:ext cx="24005" cy="798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en angle 61">
            <a:extLst>
              <a:ext uri="{FF2B5EF4-FFF2-40B4-BE49-F238E27FC236}">
                <a16:creationId xmlns:a16="http://schemas.microsoft.com/office/drawing/2014/main" id="{8904753D-15B5-0949-A9BA-B7F5F30CC26D}"/>
              </a:ext>
            </a:extLst>
          </p:cNvPr>
          <p:cNvCxnSpPr>
            <a:cxnSpLocks/>
            <a:stCxn id="52" idx="2"/>
          </p:cNvCxnSpPr>
          <p:nvPr/>
        </p:nvCxnSpPr>
        <p:spPr>
          <a:xfrm rot="16200000" flipH="1">
            <a:off x="1795427" y="4395519"/>
            <a:ext cx="492654" cy="1539738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Graphique 63" descr="Scientifique">
            <a:extLst>
              <a:ext uri="{FF2B5EF4-FFF2-40B4-BE49-F238E27FC236}">
                <a16:creationId xmlns:a16="http://schemas.microsoft.com/office/drawing/2014/main" id="{6087CBC8-BD8D-1D46-BA05-34C02E8C034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58746" y="390608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82175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xe des métiers du Machine Learning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9" name="Graphique 8" descr="Internet">
            <a:extLst>
              <a:ext uri="{FF2B5EF4-FFF2-40B4-BE49-F238E27FC236}">
                <a16:creationId xmlns:a16="http://schemas.microsoft.com/office/drawing/2014/main" id="{A124A98C-E974-2847-BBBA-45A5789F2A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8869" y="2114216"/>
            <a:ext cx="914400" cy="914400"/>
          </a:xfrm>
          <a:prstGeom prst="rect">
            <a:avLst/>
          </a:prstGeom>
        </p:spPr>
      </p:pic>
      <p:pic>
        <p:nvPicPr>
          <p:cNvPr id="17" name="Graphique 16" descr="Journal">
            <a:extLst>
              <a:ext uri="{FF2B5EF4-FFF2-40B4-BE49-F238E27FC236}">
                <a16:creationId xmlns:a16="http://schemas.microsoft.com/office/drawing/2014/main" id="{73790B0D-23C6-374C-BF64-1695D549F1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4685" y="4004661"/>
            <a:ext cx="914400" cy="914400"/>
          </a:xfrm>
          <a:prstGeom prst="rect">
            <a:avLst/>
          </a:prstGeom>
        </p:spPr>
      </p:pic>
      <p:pic>
        <p:nvPicPr>
          <p:cNvPr id="19" name="Graphique 18" descr="Tableau">
            <a:extLst>
              <a:ext uri="{FF2B5EF4-FFF2-40B4-BE49-F238E27FC236}">
                <a16:creationId xmlns:a16="http://schemas.microsoft.com/office/drawing/2014/main" id="{0549A413-E780-A54A-BAFD-975F38044D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00242" y="4948070"/>
            <a:ext cx="914400" cy="914400"/>
          </a:xfrm>
          <a:prstGeom prst="rect">
            <a:avLst/>
          </a:prstGeom>
        </p:spPr>
      </p:pic>
      <p:pic>
        <p:nvPicPr>
          <p:cNvPr id="21" name="Graphique 20" descr="Base de données">
            <a:extLst>
              <a:ext uri="{FF2B5EF4-FFF2-40B4-BE49-F238E27FC236}">
                <a16:creationId xmlns:a16="http://schemas.microsoft.com/office/drawing/2014/main" id="{E7681909-8BD7-9A45-A004-5038624BB8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11621" y="4889766"/>
            <a:ext cx="914400" cy="914400"/>
          </a:xfrm>
          <a:prstGeom prst="rect">
            <a:avLst/>
          </a:prstGeom>
        </p:spPr>
      </p:pic>
      <p:pic>
        <p:nvPicPr>
          <p:cNvPr id="23" name="Graphique 22" descr="Tête avec engrenages">
            <a:extLst>
              <a:ext uri="{FF2B5EF4-FFF2-40B4-BE49-F238E27FC236}">
                <a16:creationId xmlns:a16="http://schemas.microsoft.com/office/drawing/2014/main" id="{D4B2EB2F-D076-2747-9168-2CB5BEDBCF7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51929" y="4948070"/>
            <a:ext cx="914400" cy="914400"/>
          </a:xfrm>
          <a:prstGeom prst="rect">
            <a:avLst/>
          </a:prstGeom>
        </p:spPr>
      </p:pic>
      <p:pic>
        <p:nvPicPr>
          <p:cNvPr id="25" name="Graphique 24" descr="Engrenages">
            <a:extLst>
              <a:ext uri="{FF2B5EF4-FFF2-40B4-BE49-F238E27FC236}">
                <a16:creationId xmlns:a16="http://schemas.microsoft.com/office/drawing/2014/main" id="{379CD633-1888-304B-97AD-93547BAB65F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48684" y="4954513"/>
            <a:ext cx="914400" cy="914400"/>
          </a:xfrm>
          <a:prstGeom prst="rect">
            <a:avLst/>
          </a:prstGeom>
        </p:spPr>
      </p:pic>
      <p:cxnSp>
        <p:nvCxnSpPr>
          <p:cNvPr id="35" name="Connecteur droit avec flèche 34">
            <a:extLst>
              <a:ext uri="{FF2B5EF4-FFF2-40B4-BE49-F238E27FC236}">
                <a16:creationId xmlns:a16="http://schemas.microsoft.com/office/drawing/2014/main" id="{C7A49D75-6265-1641-8755-FF019C6A557D}"/>
              </a:ext>
            </a:extLst>
          </p:cNvPr>
          <p:cNvCxnSpPr>
            <a:stCxn id="23" idx="1"/>
            <a:endCxn id="25" idx="3"/>
          </p:cNvCxnSpPr>
          <p:nvPr/>
        </p:nvCxnSpPr>
        <p:spPr>
          <a:xfrm flipH="1">
            <a:off x="7263084" y="5405270"/>
            <a:ext cx="1188845" cy="64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EC932918-CC74-A647-B3A1-46CB58A818D3}"/>
              </a:ext>
            </a:extLst>
          </p:cNvPr>
          <p:cNvCxnSpPr>
            <a:cxnSpLocks/>
            <a:endCxn id="25" idx="1"/>
          </p:cNvCxnSpPr>
          <p:nvPr/>
        </p:nvCxnSpPr>
        <p:spPr>
          <a:xfrm>
            <a:off x="5514643" y="5408491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8F5E548E-7350-AE40-BD71-5517E65D8EBB}"/>
              </a:ext>
            </a:extLst>
          </p:cNvPr>
          <p:cNvCxnSpPr>
            <a:cxnSpLocks/>
          </p:cNvCxnSpPr>
          <p:nvPr/>
        </p:nvCxnSpPr>
        <p:spPr>
          <a:xfrm>
            <a:off x="3684267" y="5411713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E49B2E8F-711C-0B4E-BD97-D9A4086FD059}"/>
              </a:ext>
            </a:extLst>
          </p:cNvPr>
          <p:cNvCxnSpPr>
            <a:cxnSpLocks/>
          </p:cNvCxnSpPr>
          <p:nvPr/>
        </p:nvCxnSpPr>
        <p:spPr>
          <a:xfrm flipH="1">
            <a:off x="1271885" y="3117611"/>
            <a:ext cx="24005" cy="798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en angle 42">
            <a:extLst>
              <a:ext uri="{FF2B5EF4-FFF2-40B4-BE49-F238E27FC236}">
                <a16:creationId xmlns:a16="http://schemas.microsoft.com/office/drawing/2014/main" id="{834851BF-5871-6E4B-A8E0-A51B618396BE}"/>
              </a:ext>
            </a:extLst>
          </p:cNvPr>
          <p:cNvCxnSpPr>
            <a:cxnSpLocks/>
            <a:stCxn id="17" idx="2"/>
          </p:cNvCxnSpPr>
          <p:nvPr/>
        </p:nvCxnSpPr>
        <p:spPr>
          <a:xfrm rot="16200000" flipH="1">
            <a:off x="1795427" y="4395519"/>
            <a:ext cx="492654" cy="1539738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dre 4">
            <a:extLst>
              <a:ext uri="{FF2B5EF4-FFF2-40B4-BE49-F238E27FC236}">
                <a16:creationId xmlns:a16="http://schemas.microsoft.com/office/drawing/2014/main" id="{AB893DFB-A5BE-3F4E-9D3F-9EFDD32D49B4}"/>
              </a:ext>
            </a:extLst>
          </p:cNvPr>
          <p:cNvSpPr/>
          <p:nvPr/>
        </p:nvSpPr>
        <p:spPr>
          <a:xfrm>
            <a:off x="636104" y="3028616"/>
            <a:ext cx="3269974" cy="3113766"/>
          </a:xfrm>
          <a:prstGeom prst="frame">
            <a:avLst>
              <a:gd name="adj1" fmla="val 216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B858D68A-02AC-714D-A2FA-98F5DE523BF2}"/>
              </a:ext>
            </a:extLst>
          </p:cNvPr>
          <p:cNvSpPr txBox="1"/>
          <p:nvPr/>
        </p:nvSpPr>
        <p:spPr>
          <a:xfrm>
            <a:off x="2200696" y="1402801"/>
            <a:ext cx="699742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L’ingénieur </a:t>
            </a:r>
            <a:r>
              <a:rPr lang="fr-FR" dirty="0" err="1"/>
              <a:t>Big</a:t>
            </a:r>
            <a:r>
              <a:rPr lang="fr-FR" dirty="0"/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collecte des données bru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Implémente des traitements sur ces données et les mets à dispos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r>
              <a:rPr lang="fr-FR" dirty="0"/>
              <a:t>Il utilise </a:t>
            </a:r>
            <a:r>
              <a:rPr lang="fr-FR" dirty="0" err="1"/>
              <a:t>Hadoop</a:t>
            </a:r>
            <a:r>
              <a:rPr lang="fr-FR" dirty="0"/>
              <a:t>/</a:t>
            </a:r>
            <a:r>
              <a:rPr lang="fr-FR" dirty="0" err="1"/>
              <a:t>Spark</a:t>
            </a:r>
            <a:r>
              <a:rPr lang="fr-FR" dirty="0"/>
              <a:t>/</a:t>
            </a:r>
            <a:r>
              <a:rPr lang="fr-FR" dirty="0" err="1"/>
              <a:t>Hive</a:t>
            </a:r>
            <a:r>
              <a:rPr lang="fr-FR" dirty="0"/>
              <a:t>/</a:t>
            </a:r>
            <a:r>
              <a:rPr lang="fr-FR" dirty="0" err="1"/>
              <a:t>Pig</a:t>
            </a:r>
            <a:r>
              <a:rPr lang="fr-FR" dirty="0"/>
              <a:t>/</a:t>
            </a:r>
            <a:r>
              <a:rPr lang="fr-FR" dirty="0" err="1"/>
              <a:t>BigQuery</a:t>
            </a:r>
            <a:r>
              <a:rPr lang="fr-FR" dirty="0"/>
              <a:t> ou même DSS</a:t>
            </a:r>
          </a:p>
        </p:txBody>
      </p:sp>
      <p:pic>
        <p:nvPicPr>
          <p:cNvPr id="26" name="Graphique 25" descr="Soudeur">
            <a:extLst>
              <a:ext uri="{FF2B5EF4-FFF2-40B4-BE49-F238E27FC236}">
                <a16:creationId xmlns:a16="http://schemas.microsoft.com/office/drawing/2014/main" id="{3E8506F0-41C9-8A41-BC82-0891BB4F609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63084" y="3910559"/>
            <a:ext cx="914400" cy="914400"/>
          </a:xfrm>
          <a:prstGeom prst="rect">
            <a:avLst/>
          </a:prstGeom>
        </p:spPr>
      </p:pic>
      <p:pic>
        <p:nvPicPr>
          <p:cNvPr id="27" name="Graphique 26" descr="Ouvrier du bâtiment">
            <a:extLst>
              <a:ext uri="{FF2B5EF4-FFF2-40B4-BE49-F238E27FC236}">
                <a16:creationId xmlns:a16="http://schemas.microsoft.com/office/drawing/2014/main" id="{A323BA40-F508-0240-BDD7-929CB8CD324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018854" y="3910559"/>
            <a:ext cx="914400" cy="914400"/>
          </a:xfrm>
          <a:prstGeom prst="rect">
            <a:avLst/>
          </a:prstGeom>
        </p:spPr>
      </p:pic>
      <p:pic>
        <p:nvPicPr>
          <p:cNvPr id="28" name="Graphique 27" descr="Chef">
            <a:extLst>
              <a:ext uri="{FF2B5EF4-FFF2-40B4-BE49-F238E27FC236}">
                <a16:creationId xmlns:a16="http://schemas.microsoft.com/office/drawing/2014/main" id="{41803650-3E9A-8A40-96A5-81A38A3B021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00242" y="3910559"/>
            <a:ext cx="914400" cy="914400"/>
          </a:xfrm>
          <a:prstGeom prst="rect">
            <a:avLst/>
          </a:prstGeom>
        </p:spPr>
      </p:pic>
      <p:pic>
        <p:nvPicPr>
          <p:cNvPr id="29" name="Graphique 28" descr="Scientifique">
            <a:extLst>
              <a:ext uri="{FF2B5EF4-FFF2-40B4-BE49-F238E27FC236}">
                <a16:creationId xmlns:a16="http://schemas.microsoft.com/office/drawing/2014/main" id="{9DBC233E-3817-F749-8E3C-473451A6F8F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58746" y="390608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31073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xe des métiers du Machine Learning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9" name="Graphique 8" descr="Internet">
            <a:extLst>
              <a:ext uri="{FF2B5EF4-FFF2-40B4-BE49-F238E27FC236}">
                <a16:creationId xmlns:a16="http://schemas.microsoft.com/office/drawing/2014/main" id="{A124A98C-E974-2847-BBBA-45A5789F2A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8869" y="2114216"/>
            <a:ext cx="914400" cy="914400"/>
          </a:xfrm>
          <a:prstGeom prst="rect">
            <a:avLst/>
          </a:prstGeom>
        </p:spPr>
      </p:pic>
      <p:pic>
        <p:nvPicPr>
          <p:cNvPr id="17" name="Graphique 16" descr="Journal">
            <a:extLst>
              <a:ext uri="{FF2B5EF4-FFF2-40B4-BE49-F238E27FC236}">
                <a16:creationId xmlns:a16="http://schemas.microsoft.com/office/drawing/2014/main" id="{73790B0D-23C6-374C-BF64-1695D549F1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4685" y="4004661"/>
            <a:ext cx="914400" cy="914400"/>
          </a:xfrm>
          <a:prstGeom prst="rect">
            <a:avLst/>
          </a:prstGeom>
        </p:spPr>
      </p:pic>
      <p:pic>
        <p:nvPicPr>
          <p:cNvPr id="19" name="Graphique 18" descr="Tableau">
            <a:extLst>
              <a:ext uri="{FF2B5EF4-FFF2-40B4-BE49-F238E27FC236}">
                <a16:creationId xmlns:a16="http://schemas.microsoft.com/office/drawing/2014/main" id="{0549A413-E780-A54A-BAFD-975F38044D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00242" y="4948070"/>
            <a:ext cx="914400" cy="914400"/>
          </a:xfrm>
          <a:prstGeom prst="rect">
            <a:avLst/>
          </a:prstGeom>
        </p:spPr>
      </p:pic>
      <p:pic>
        <p:nvPicPr>
          <p:cNvPr id="21" name="Graphique 20" descr="Base de données">
            <a:extLst>
              <a:ext uri="{FF2B5EF4-FFF2-40B4-BE49-F238E27FC236}">
                <a16:creationId xmlns:a16="http://schemas.microsoft.com/office/drawing/2014/main" id="{E7681909-8BD7-9A45-A004-5038624BB8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11621" y="4889766"/>
            <a:ext cx="914400" cy="914400"/>
          </a:xfrm>
          <a:prstGeom prst="rect">
            <a:avLst/>
          </a:prstGeom>
        </p:spPr>
      </p:pic>
      <p:pic>
        <p:nvPicPr>
          <p:cNvPr id="23" name="Graphique 22" descr="Tête avec engrenages">
            <a:extLst>
              <a:ext uri="{FF2B5EF4-FFF2-40B4-BE49-F238E27FC236}">
                <a16:creationId xmlns:a16="http://schemas.microsoft.com/office/drawing/2014/main" id="{D4B2EB2F-D076-2747-9168-2CB5BEDBCF7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51929" y="4948070"/>
            <a:ext cx="914400" cy="914400"/>
          </a:xfrm>
          <a:prstGeom prst="rect">
            <a:avLst/>
          </a:prstGeom>
        </p:spPr>
      </p:pic>
      <p:pic>
        <p:nvPicPr>
          <p:cNvPr id="25" name="Graphique 24" descr="Engrenages">
            <a:extLst>
              <a:ext uri="{FF2B5EF4-FFF2-40B4-BE49-F238E27FC236}">
                <a16:creationId xmlns:a16="http://schemas.microsoft.com/office/drawing/2014/main" id="{379CD633-1888-304B-97AD-93547BAB65F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48684" y="4954513"/>
            <a:ext cx="914400" cy="914400"/>
          </a:xfrm>
          <a:prstGeom prst="rect">
            <a:avLst/>
          </a:prstGeom>
        </p:spPr>
      </p:pic>
      <p:cxnSp>
        <p:nvCxnSpPr>
          <p:cNvPr id="35" name="Connecteur droit avec flèche 34">
            <a:extLst>
              <a:ext uri="{FF2B5EF4-FFF2-40B4-BE49-F238E27FC236}">
                <a16:creationId xmlns:a16="http://schemas.microsoft.com/office/drawing/2014/main" id="{C7A49D75-6265-1641-8755-FF019C6A557D}"/>
              </a:ext>
            </a:extLst>
          </p:cNvPr>
          <p:cNvCxnSpPr>
            <a:stCxn id="23" idx="1"/>
            <a:endCxn id="25" idx="3"/>
          </p:cNvCxnSpPr>
          <p:nvPr/>
        </p:nvCxnSpPr>
        <p:spPr>
          <a:xfrm flipH="1">
            <a:off x="7263084" y="5405270"/>
            <a:ext cx="1188845" cy="64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EC932918-CC74-A647-B3A1-46CB58A818D3}"/>
              </a:ext>
            </a:extLst>
          </p:cNvPr>
          <p:cNvCxnSpPr>
            <a:cxnSpLocks/>
            <a:endCxn id="25" idx="1"/>
          </p:cNvCxnSpPr>
          <p:nvPr/>
        </p:nvCxnSpPr>
        <p:spPr>
          <a:xfrm>
            <a:off x="5514643" y="5408491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8F5E548E-7350-AE40-BD71-5517E65D8EBB}"/>
              </a:ext>
            </a:extLst>
          </p:cNvPr>
          <p:cNvCxnSpPr>
            <a:cxnSpLocks/>
          </p:cNvCxnSpPr>
          <p:nvPr/>
        </p:nvCxnSpPr>
        <p:spPr>
          <a:xfrm>
            <a:off x="3684267" y="5411713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E49B2E8F-711C-0B4E-BD97-D9A4086FD059}"/>
              </a:ext>
            </a:extLst>
          </p:cNvPr>
          <p:cNvCxnSpPr>
            <a:cxnSpLocks/>
          </p:cNvCxnSpPr>
          <p:nvPr/>
        </p:nvCxnSpPr>
        <p:spPr>
          <a:xfrm flipH="1">
            <a:off x="1271885" y="3117611"/>
            <a:ext cx="24005" cy="798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en angle 42">
            <a:extLst>
              <a:ext uri="{FF2B5EF4-FFF2-40B4-BE49-F238E27FC236}">
                <a16:creationId xmlns:a16="http://schemas.microsoft.com/office/drawing/2014/main" id="{834851BF-5871-6E4B-A8E0-A51B618396BE}"/>
              </a:ext>
            </a:extLst>
          </p:cNvPr>
          <p:cNvCxnSpPr>
            <a:cxnSpLocks/>
            <a:stCxn id="17" idx="2"/>
          </p:cNvCxnSpPr>
          <p:nvPr/>
        </p:nvCxnSpPr>
        <p:spPr>
          <a:xfrm rot="16200000" flipH="1">
            <a:off x="1795427" y="4395519"/>
            <a:ext cx="492654" cy="1539738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ZoneTexte 23">
            <a:extLst>
              <a:ext uri="{FF2B5EF4-FFF2-40B4-BE49-F238E27FC236}">
                <a16:creationId xmlns:a16="http://schemas.microsoft.com/office/drawing/2014/main" id="{86547537-A111-ED44-95E3-82DC90080C58}"/>
              </a:ext>
            </a:extLst>
          </p:cNvPr>
          <p:cNvSpPr txBox="1"/>
          <p:nvPr/>
        </p:nvSpPr>
        <p:spPr>
          <a:xfrm>
            <a:off x="2200696" y="1402801"/>
            <a:ext cx="7883377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Le Data </a:t>
            </a:r>
            <a:r>
              <a:rPr lang="fr-FR" dirty="0" err="1"/>
              <a:t>Scientist</a:t>
            </a: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fait de l’analyse prédictiv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il sélectionne le bon algorithme de Machine Learning suivant le problè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il fait du </a:t>
            </a:r>
            <a:r>
              <a:rPr lang="fr-FR" dirty="0" err="1"/>
              <a:t>Feature</a:t>
            </a:r>
            <a:r>
              <a:rPr lang="fr-FR" dirty="0"/>
              <a:t> </a:t>
            </a:r>
            <a:r>
              <a:rPr lang="fr-FR" dirty="0" err="1"/>
              <a:t>Enginering</a:t>
            </a:r>
            <a:r>
              <a:rPr lang="fr-FR" dirty="0"/>
              <a:t>: ce sont les traitements finaux sur les données</a:t>
            </a:r>
          </a:p>
          <a:p>
            <a:pPr lvl="1"/>
            <a:r>
              <a:rPr lang="fr-FR" dirty="0"/>
              <a:t>     pour maximiser la performance des algorith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Il entraine les modèles et mets à disposition ses résulta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/>
          </a:p>
          <a:p>
            <a:r>
              <a:rPr lang="fr-FR" dirty="0"/>
              <a:t>Il utilise Python (pandas, </a:t>
            </a:r>
            <a:r>
              <a:rPr lang="fr-FR" dirty="0" err="1"/>
              <a:t>sklearn</a:t>
            </a:r>
            <a:r>
              <a:rPr lang="fr-FR" dirty="0"/>
              <a:t>, </a:t>
            </a:r>
            <a:r>
              <a:rPr lang="fr-FR" dirty="0" err="1"/>
              <a:t>xgboost</a:t>
            </a:r>
            <a:r>
              <a:rPr lang="fr-FR" dirty="0"/>
              <a:t>, </a:t>
            </a:r>
            <a:r>
              <a:rPr lang="fr-FR" dirty="0" err="1"/>
              <a:t>keras</a:t>
            </a:r>
            <a:r>
              <a:rPr lang="fr-FR" dirty="0"/>
              <a:t>) ou R</a:t>
            </a:r>
          </a:p>
        </p:txBody>
      </p:sp>
      <p:pic>
        <p:nvPicPr>
          <p:cNvPr id="27" name="Graphique 26" descr="Soudeur">
            <a:extLst>
              <a:ext uri="{FF2B5EF4-FFF2-40B4-BE49-F238E27FC236}">
                <a16:creationId xmlns:a16="http://schemas.microsoft.com/office/drawing/2014/main" id="{B769C302-5649-4F42-9DA2-F894EEE8E7A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63084" y="3910559"/>
            <a:ext cx="914400" cy="914400"/>
          </a:xfrm>
          <a:prstGeom prst="rect">
            <a:avLst/>
          </a:prstGeom>
        </p:spPr>
      </p:pic>
      <p:pic>
        <p:nvPicPr>
          <p:cNvPr id="28" name="Graphique 27" descr="Ouvrier du bâtiment">
            <a:extLst>
              <a:ext uri="{FF2B5EF4-FFF2-40B4-BE49-F238E27FC236}">
                <a16:creationId xmlns:a16="http://schemas.microsoft.com/office/drawing/2014/main" id="{A1827852-318C-5F4E-BB79-40D69D3963C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018854" y="3910559"/>
            <a:ext cx="914400" cy="914400"/>
          </a:xfrm>
          <a:prstGeom prst="rect">
            <a:avLst/>
          </a:prstGeom>
        </p:spPr>
      </p:pic>
      <p:pic>
        <p:nvPicPr>
          <p:cNvPr id="29" name="Graphique 28" descr="Chef">
            <a:extLst>
              <a:ext uri="{FF2B5EF4-FFF2-40B4-BE49-F238E27FC236}">
                <a16:creationId xmlns:a16="http://schemas.microsoft.com/office/drawing/2014/main" id="{F61D14A2-7801-0243-9079-CBCDA0427ED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00242" y="3910559"/>
            <a:ext cx="914400" cy="914400"/>
          </a:xfrm>
          <a:prstGeom prst="rect">
            <a:avLst/>
          </a:prstGeom>
        </p:spPr>
      </p:pic>
      <p:sp>
        <p:nvSpPr>
          <p:cNvPr id="30" name="Cadre 29">
            <a:extLst>
              <a:ext uri="{FF2B5EF4-FFF2-40B4-BE49-F238E27FC236}">
                <a16:creationId xmlns:a16="http://schemas.microsoft.com/office/drawing/2014/main" id="{FA7197F5-D342-7249-A877-DBA8405D9907}"/>
              </a:ext>
            </a:extLst>
          </p:cNvPr>
          <p:cNvSpPr/>
          <p:nvPr/>
        </p:nvSpPr>
        <p:spPr>
          <a:xfrm>
            <a:off x="2883636" y="3820454"/>
            <a:ext cx="4379448" cy="2222537"/>
          </a:xfrm>
          <a:prstGeom prst="frame">
            <a:avLst>
              <a:gd name="adj1" fmla="val 216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pic>
        <p:nvPicPr>
          <p:cNvPr id="31" name="Graphique 30" descr="Scientifique">
            <a:extLst>
              <a:ext uri="{FF2B5EF4-FFF2-40B4-BE49-F238E27FC236}">
                <a16:creationId xmlns:a16="http://schemas.microsoft.com/office/drawing/2014/main" id="{E638CD51-AD25-C645-A33A-86C45ACD5B6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58746" y="390608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822292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xe des métiers du Machine Learning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9" name="Graphique 8" descr="Internet">
            <a:extLst>
              <a:ext uri="{FF2B5EF4-FFF2-40B4-BE49-F238E27FC236}">
                <a16:creationId xmlns:a16="http://schemas.microsoft.com/office/drawing/2014/main" id="{A124A98C-E974-2847-BBBA-45A5789F2A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8869" y="2114216"/>
            <a:ext cx="914400" cy="914400"/>
          </a:xfrm>
          <a:prstGeom prst="rect">
            <a:avLst/>
          </a:prstGeom>
        </p:spPr>
      </p:pic>
      <p:pic>
        <p:nvPicPr>
          <p:cNvPr id="17" name="Graphique 16" descr="Journal">
            <a:extLst>
              <a:ext uri="{FF2B5EF4-FFF2-40B4-BE49-F238E27FC236}">
                <a16:creationId xmlns:a16="http://schemas.microsoft.com/office/drawing/2014/main" id="{73790B0D-23C6-374C-BF64-1695D549F1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4685" y="4004661"/>
            <a:ext cx="914400" cy="914400"/>
          </a:xfrm>
          <a:prstGeom prst="rect">
            <a:avLst/>
          </a:prstGeom>
        </p:spPr>
      </p:pic>
      <p:pic>
        <p:nvPicPr>
          <p:cNvPr id="19" name="Graphique 18" descr="Tableau">
            <a:extLst>
              <a:ext uri="{FF2B5EF4-FFF2-40B4-BE49-F238E27FC236}">
                <a16:creationId xmlns:a16="http://schemas.microsoft.com/office/drawing/2014/main" id="{0549A413-E780-A54A-BAFD-975F38044D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00242" y="4948070"/>
            <a:ext cx="914400" cy="914400"/>
          </a:xfrm>
          <a:prstGeom prst="rect">
            <a:avLst/>
          </a:prstGeom>
        </p:spPr>
      </p:pic>
      <p:pic>
        <p:nvPicPr>
          <p:cNvPr id="21" name="Graphique 20" descr="Base de données">
            <a:extLst>
              <a:ext uri="{FF2B5EF4-FFF2-40B4-BE49-F238E27FC236}">
                <a16:creationId xmlns:a16="http://schemas.microsoft.com/office/drawing/2014/main" id="{E7681909-8BD7-9A45-A004-5038624BB8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11621" y="4889766"/>
            <a:ext cx="914400" cy="914400"/>
          </a:xfrm>
          <a:prstGeom prst="rect">
            <a:avLst/>
          </a:prstGeom>
        </p:spPr>
      </p:pic>
      <p:pic>
        <p:nvPicPr>
          <p:cNvPr id="23" name="Graphique 22" descr="Tête avec engrenages">
            <a:extLst>
              <a:ext uri="{FF2B5EF4-FFF2-40B4-BE49-F238E27FC236}">
                <a16:creationId xmlns:a16="http://schemas.microsoft.com/office/drawing/2014/main" id="{D4B2EB2F-D076-2747-9168-2CB5BEDBCF7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51929" y="4948070"/>
            <a:ext cx="914400" cy="914400"/>
          </a:xfrm>
          <a:prstGeom prst="rect">
            <a:avLst/>
          </a:prstGeom>
        </p:spPr>
      </p:pic>
      <p:pic>
        <p:nvPicPr>
          <p:cNvPr id="25" name="Graphique 24" descr="Engrenages">
            <a:extLst>
              <a:ext uri="{FF2B5EF4-FFF2-40B4-BE49-F238E27FC236}">
                <a16:creationId xmlns:a16="http://schemas.microsoft.com/office/drawing/2014/main" id="{379CD633-1888-304B-97AD-93547BAB65F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48684" y="4954513"/>
            <a:ext cx="914400" cy="914400"/>
          </a:xfrm>
          <a:prstGeom prst="rect">
            <a:avLst/>
          </a:prstGeom>
        </p:spPr>
      </p:pic>
      <p:cxnSp>
        <p:nvCxnSpPr>
          <p:cNvPr id="35" name="Connecteur droit avec flèche 34">
            <a:extLst>
              <a:ext uri="{FF2B5EF4-FFF2-40B4-BE49-F238E27FC236}">
                <a16:creationId xmlns:a16="http://schemas.microsoft.com/office/drawing/2014/main" id="{C7A49D75-6265-1641-8755-FF019C6A557D}"/>
              </a:ext>
            </a:extLst>
          </p:cNvPr>
          <p:cNvCxnSpPr>
            <a:stCxn id="23" idx="1"/>
            <a:endCxn id="25" idx="3"/>
          </p:cNvCxnSpPr>
          <p:nvPr/>
        </p:nvCxnSpPr>
        <p:spPr>
          <a:xfrm flipH="1">
            <a:off x="7263084" y="5405270"/>
            <a:ext cx="1188845" cy="64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EC932918-CC74-A647-B3A1-46CB58A818D3}"/>
              </a:ext>
            </a:extLst>
          </p:cNvPr>
          <p:cNvCxnSpPr>
            <a:cxnSpLocks/>
            <a:endCxn id="25" idx="1"/>
          </p:cNvCxnSpPr>
          <p:nvPr/>
        </p:nvCxnSpPr>
        <p:spPr>
          <a:xfrm>
            <a:off x="5514643" y="5408491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8F5E548E-7350-AE40-BD71-5517E65D8EBB}"/>
              </a:ext>
            </a:extLst>
          </p:cNvPr>
          <p:cNvCxnSpPr>
            <a:cxnSpLocks/>
          </p:cNvCxnSpPr>
          <p:nvPr/>
        </p:nvCxnSpPr>
        <p:spPr>
          <a:xfrm>
            <a:off x="3684267" y="5411713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E49B2E8F-711C-0B4E-BD97-D9A4086FD059}"/>
              </a:ext>
            </a:extLst>
          </p:cNvPr>
          <p:cNvCxnSpPr>
            <a:cxnSpLocks/>
          </p:cNvCxnSpPr>
          <p:nvPr/>
        </p:nvCxnSpPr>
        <p:spPr>
          <a:xfrm flipH="1">
            <a:off x="1271885" y="3117611"/>
            <a:ext cx="24005" cy="798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en angle 42">
            <a:extLst>
              <a:ext uri="{FF2B5EF4-FFF2-40B4-BE49-F238E27FC236}">
                <a16:creationId xmlns:a16="http://schemas.microsoft.com/office/drawing/2014/main" id="{834851BF-5871-6E4B-A8E0-A51B618396BE}"/>
              </a:ext>
            </a:extLst>
          </p:cNvPr>
          <p:cNvCxnSpPr>
            <a:cxnSpLocks/>
            <a:stCxn id="17" idx="2"/>
          </p:cNvCxnSpPr>
          <p:nvPr/>
        </p:nvCxnSpPr>
        <p:spPr>
          <a:xfrm rot="16200000" flipH="1">
            <a:off x="1795427" y="4395519"/>
            <a:ext cx="492654" cy="1539738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dre 4">
            <a:extLst>
              <a:ext uri="{FF2B5EF4-FFF2-40B4-BE49-F238E27FC236}">
                <a16:creationId xmlns:a16="http://schemas.microsoft.com/office/drawing/2014/main" id="{AB893DFB-A5BE-3F4E-9D3F-9EFDD32D49B4}"/>
              </a:ext>
            </a:extLst>
          </p:cNvPr>
          <p:cNvSpPr/>
          <p:nvPr/>
        </p:nvSpPr>
        <p:spPr>
          <a:xfrm>
            <a:off x="2883636" y="3820454"/>
            <a:ext cx="4379448" cy="2222537"/>
          </a:xfrm>
          <a:prstGeom prst="frame">
            <a:avLst>
              <a:gd name="adj1" fmla="val 216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86547537-A111-ED44-95E3-82DC90080C58}"/>
              </a:ext>
            </a:extLst>
          </p:cNvPr>
          <p:cNvSpPr txBox="1"/>
          <p:nvPr/>
        </p:nvSpPr>
        <p:spPr>
          <a:xfrm>
            <a:off x="2200696" y="1402801"/>
            <a:ext cx="9761070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Le Data </a:t>
            </a:r>
            <a:r>
              <a:rPr lang="fr-FR" dirty="0" err="1"/>
              <a:t>Scientist</a:t>
            </a:r>
            <a:r>
              <a:rPr lang="fr-FR" dirty="0"/>
              <a:t> a aussi des copains et fait parfois un peu comme eux.</a:t>
            </a:r>
          </a:p>
          <a:p>
            <a:endParaRPr lang="fr-FR" dirty="0"/>
          </a:p>
          <a:p>
            <a:r>
              <a:rPr lang="fr-FR" dirty="0"/>
              <a:t>	     Le Data </a:t>
            </a:r>
            <a:r>
              <a:rPr lang="fr-FR" dirty="0" err="1"/>
              <a:t>Analyst</a:t>
            </a:r>
            <a:endParaRPr lang="fr-FR" dirty="0"/>
          </a:p>
          <a:p>
            <a:endParaRPr lang="fr-FR" dirty="0"/>
          </a:p>
          <a:p>
            <a:r>
              <a:rPr lang="fr-FR" dirty="0"/>
              <a:t>                      L’ingénieur BI</a:t>
            </a:r>
          </a:p>
          <a:p>
            <a:endParaRPr lang="fr-FR" dirty="0"/>
          </a:p>
          <a:p>
            <a:r>
              <a:rPr lang="fr-FR" dirty="0"/>
              <a:t>Ils analysent les données pour extraire des KPI, comprendre ce qu’il se passe et faire des visualisations.</a:t>
            </a:r>
          </a:p>
          <a:p>
            <a:r>
              <a:rPr lang="fr-FR" dirty="0"/>
              <a:t>Ils font du Python/R, du SAS, du </a:t>
            </a:r>
            <a:r>
              <a:rPr lang="fr-FR" dirty="0" err="1"/>
              <a:t>Qlikview</a:t>
            </a:r>
            <a:r>
              <a:rPr lang="fr-FR" dirty="0"/>
              <a:t> ou bien du Tableau.</a:t>
            </a:r>
          </a:p>
        </p:txBody>
      </p:sp>
      <p:pic>
        <p:nvPicPr>
          <p:cNvPr id="22" name="Graphique 21" descr="Détective">
            <a:extLst>
              <a:ext uri="{FF2B5EF4-FFF2-40B4-BE49-F238E27FC236}">
                <a16:creationId xmlns:a16="http://schemas.microsoft.com/office/drawing/2014/main" id="{F5CDAD18-BFD4-2B4E-B2D1-B18DF84ED80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81698" y="1798470"/>
            <a:ext cx="631492" cy="631492"/>
          </a:xfrm>
          <a:prstGeom prst="rect">
            <a:avLst/>
          </a:prstGeom>
        </p:spPr>
      </p:pic>
      <p:pic>
        <p:nvPicPr>
          <p:cNvPr id="26" name="Graphique 25" descr="Présentation avec camembert ">
            <a:extLst>
              <a:ext uri="{FF2B5EF4-FFF2-40B4-BE49-F238E27FC236}">
                <a16:creationId xmlns:a16="http://schemas.microsoft.com/office/drawing/2014/main" id="{8E2BD2CD-4EDC-FB46-B180-22CFDDB1641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028321" y="2080235"/>
            <a:ext cx="653377" cy="653377"/>
          </a:xfrm>
          <a:prstGeom prst="rect">
            <a:avLst/>
          </a:prstGeom>
        </p:spPr>
      </p:pic>
      <p:pic>
        <p:nvPicPr>
          <p:cNvPr id="27" name="Graphique 26" descr="Employé(e) de bureau">
            <a:extLst>
              <a:ext uri="{FF2B5EF4-FFF2-40B4-BE49-F238E27FC236}">
                <a16:creationId xmlns:a16="http://schemas.microsoft.com/office/drawing/2014/main" id="{F86BBB27-A405-D443-9CA4-0D3229A1700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659813" y="2333092"/>
            <a:ext cx="653377" cy="653377"/>
          </a:xfrm>
          <a:prstGeom prst="rect">
            <a:avLst/>
          </a:prstGeom>
        </p:spPr>
      </p:pic>
      <p:pic>
        <p:nvPicPr>
          <p:cNvPr id="29" name="Graphique 28" descr="Soudeur">
            <a:extLst>
              <a:ext uri="{FF2B5EF4-FFF2-40B4-BE49-F238E27FC236}">
                <a16:creationId xmlns:a16="http://schemas.microsoft.com/office/drawing/2014/main" id="{B2580AA4-F616-C140-97B0-43C6767D583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263084" y="3910559"/>
            <a:ext cx="914400" cy="914400"/>
          </a:xfrm>
          <a:prstGeom prst="rect">
            <a:avLst/>
          </a:prstGeom>
        </p:spPr>
      </p:pic>
      <p:pic>
        <p:nvPicPr>
          <p:cNvPr id="30" name="Graphique 29" descr="Ouvrier du bâtiment">
            <a:extLst>
              <a:ext uri="{FF2B5EF4-FFF2-40B4-BE49-F238E27FC236}">
                <a16:creationId xmlns:a16="http://schemas.microsoft.com/office/drawing/2014/main" id="{E0A8CDBE-0C36-3443-865D-93DD10B9A97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018854" y="3910559"/>
            <a:ext cx="914400" cy="914400"/>
          </a:xfrm>
          <a:prstGeom prst="rect">
            <a:avLst/>
          </a:prstGeom>
        </p:spPr>
      </p:pic>
      <p:pic>
        <p:nvPicPr>
          <p:cNvPr id="31" name="Graphique 30" descr="Chef">
            <a:extLst>
              <a:ext uri="{FF2B5EF4-FFF2-40B4-BE49-F238E27FC236}">
                <a16:creationId xmlns:a16="http://schemas.microsoft.com/office/drawing/2014/main" id="{6FB63670-B480-794C-9125-BB5E5485CCE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600242" y="3910559"/>
            <a:ext cx="914400" cy="914400"/>
          </a:xfrm>
          <a:prstGeom prst="rect">
            <a:avLst/>
          </a:prstGeom>
        </p:spPr>
      </p:pic>
      <p:pic>
        <p:nvPicPr>
          <p:cNvPr id="32" name="Graphique 31" descr="Scientifique">
            <a:extLst>
              <a:ext uri="{FF2B5EF4-FFF2-40B4-BE49-F238E27FC236}">
                <a16:creationId xmlns:a16="http://schemas.microsoft.com/office/drawing/2014/main" id="{B11E9130-5F23-2B4E-8718-E81F822EFFB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258746" y="390608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9638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xe des métiers du Machine Learning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9" name="Graphique 8" descr="Internet">
            <a:extLst>
              <a:ext uri="{FF2B5EF4-FFF2-40B4-BE49-F238E27FC236}">
                <a16:creationId xmlns:a16="http://schemas.microsoft.com/office/drawing/2014/main" id="{A124A98C-E974-2847-BBBA-45A5789F2A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8869" y="2114216"/>
            <a:ext cx="914400" cy="914400"/>
          </a:xfrm>
          <a:prstGeom prst="rect">
            <a:avLst/>
          </a:prstGeom>
        </p:spPr>
      </p:pic>
      <p:pic>
        <p:nvPicPr>
          <p:cNvPr id="17" name="Graphique 16" descr="Journal">
            <a:extLst>
              <a:ext uri="{FF2B5EF4-FFF2-40B4-BE49-F238E27FC236}">
                <a16:creationId xmlns:a16="http://schemas.microsoft.com/office/drawing/2014/main" id="{73790B0D-23C6-374C-BF64-1695D549F1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4685" y="4004661"/>
            <a:ext cx="914400" cy="914400"/>
          </a:xfrm>
          <a:prstGeom prst="rect">
            <a:avLst/>
          </a:prstGeom>
        </p:spPr>
      </p:pic>
      <p:pic>
        <p:nvPicPr>
          <p:cNvPr id="19" name="Graphique 18" descr="Tableau">
            <a:extLst>
              <a:ext uri="{FF2B5EF4-FFF2-40B4-BE49-F238E27FC236}">
                <a16:creationId xmlns:a16="http://schemas.microsoft.com/office/drawing/2014/main" id="{0549A413-E780-A54A-BAFD-975F38044D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00242" y="4948070"/>
            <a:ext cx="914400" cy="914400"/>
          </a:xfrm>
          <a:prstGeom prst="rect">
            <a:avLst/>
          </a:prstGeom>
        </p:spPr>
      </p:pic>
      <p:pic>
        <p:nvPicPr>
          <p:cNvPr id="21" name="Graphique 20" descr="Base de données">
            <a:extLst>
              <a:ext uri="{FF2B5EF4-FFF2-40B4-BE49-F238E27FC236}">
                <a16:creationId xmlns:a16="http://schemas.microsoft.com/office/drawing/2014/main" id="{E7681909-8BD7-9A45-A004-5038624BB8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11621" y="4889766"/>
            <a:ext cx="914400" cy="914400"/>
          </a:xfrm>
          <a:prstGeom prst="rect">
            <a:avLst/>
          </a:prstGeom>
        </p:spPr>
      </p:pic>
      <p:pic>
        <p:nvPicPr>
          <p:cNvPr id="23" name="Graphique 22" descr="Tête avec engrenages">
            <a:extLst>
              <a:ext uri="{FF2B5EF4-FFF2-40B4-BE49-F238E27FC236}">
                <a16:creationId xmlns:a16="http://schemas.microsoft.com/office/drawing/2014/main" id="{D4B2EB2F-D076-2747-9168-2CB5BEDBCF7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51929" y="4948070"/>
            <a:ext cx="914400" cy="914400"/>
          </a:xfrm>
          <a:prstGeom prst="rect">
            <a:avLst/>
          </a:prstGeom>
        </p:spPr>
      </p:pic>
      <p:pic>
        <p:nvPicPr>
          <p:cNvPr id="25" name="Graphique 24" descr="Engrenages">
            <a:extLst>
              <a:ext uri="{FF2B5EF4-FFF2-40B4-BE49-F238E27FC236}">
                <a16:creationId xmlns:a16="http://schemas.microsoft.com/office/drawing/2014/main" id="{379CD633-1888-304B-97AD-93547BAB65F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48684" y="4954513"/>
            <a:ext cx="914400" cy="914400"/>
          </a:xfrm>
          <a:prstGeom prst="rect">
            <a:avLst/>
          </a:prstGeom>
        </p:spPr>
      </p:pic>
      <p:cxnSp>
        <p:nvCxnSpPr>
          <p:cNvPr id="35" name="Connecteur droit avec flèche 34">
            <a:extLst>
              <a:ext uri="{FF2B5EF4-FFF2-40B4-BE49-F238E27FC236}">
                <a16:creationId xmlns:a16="http://schemas.microsoft.com/office/drawing/2014/main" id="{C7A49D75-6265-1641-8755-FF019C6A557D}"/>
              </a:ext>
            </a:extLst>
          </p:cNvPr>
          <p:cNvCxnSpPr>
            <a:stCxn id="23" idx="1"/>
            <a:endCxn id="25" idx="3"/>
          </p:cNvCxnSpPr>
          <p:nvPr/>
        </p:nvCxnSpPr>
        <p:spPr>
          <a:xfrm flipH="1">
            <a:off x="7263084" y="5405270"/>
            <a:ext cx="1188845" cy="64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EC932918-CC74-A647-B3A1-46CB58A818D3}"/>
              </a:ext>
            </a:extLst>
          </p:cNvPr>
          <p:cNvCxnSpPr>
            <a:cxnSpLocks/>
            <a:endCxn id="25" idx="1"/>
          </p:cNvCxnSpPr>
          <p:nvPr/>
        </p:nvCxnSpPr>
        <p:spPr>
          <a:xfrm>
            <a:off x="5514643" y="5408491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8F5E548E-7350-AE40-BD71-5517E65D8EBB}"/>
              </a:ext>
            </a:extLst>
          </p:cNvPr>
          <p:cNvCxnSpPr>
            <a:cxnSpLocks/>
          </p:cNvCxnSpPr>
          <p:nvPr/>
        </p:nvCxnSpPr>
        <p:spPr>
          <a:xfrm>
            <a:off x="3684267" y="5411713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E49B2E8F-711C-0B4E-BD97-D9A4086FD059}"/>
              </a:ext>
            </a:extLst>
          </p:cNvPr>
          <p:cNvCxnSpPr>
            <a:cxnSpLocks/>
          </p:cNvCxnSpPr>
          <p:nvPr/>
        </p:nvCxnSpPr>
        <p:spPr>
          <a:xfrm flipH="1">
            <a:off x="1271885" y="3117611"/>
            <a:ext cx="24005" cy="798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en angle 42">
            <a:extLst>
              <a:ext uri="{FF2B5EF4-FFF2-40B4-BE49-F238E27FC236}">
                <a16:creationId xmlns:a16="http://schemas.microsoft.com/office/drawing/2014/main" id="{834851BF-5871-6E4B-A8E0-A51B618396BE}"/>
              </a:ext>
            </a:extLst>
          </p:cNvPr>
          <p:cNvCxnSpPr>
            <a:cxnSpLocks/>
            <a:stCxn id="17" idx="2"/>
          </p:cNvCxnSpPr>
          <p:nvPr/>
        </p:nvCxnSpPr>
        <p:spPr>
          <a:xfrm rot="16200000" flipH="1">
            <a:off x="1795427" y="4395519"/>
            <a:ext cx="492654" cy="1539738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ZoneTexte 23">
            <a:extLst>
              <a:ext uri="{FF2B5EF4-FFF2-40B4-BE49-F238E27FC236}">
                <a16:creationId xmlns:a16="http://schemas.microsoft.com/office/drawing/2014/main" id="{86547537-A111-ED44-95E3-82DC90080C58}"/>
              </a:ext>
            </a:extLst>
          </p:cNvPr>
          <p:cNvSpPr txBox="1"/>
          <p:nvPr/>
        </p:nvSpPr>
        <p:spPr>
          <a:xfrm>
            <a:off x="2200696" y="1402801"/>
            <a:ext cx="9581405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L’ingénieur Machine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implémente les algorithmes de machine learning à partir de POC ou de travaux de recherch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r>
              <a:rPr lang="fr-FR" dirty="0"/>
              <a:t>C’est lui qui code les librairies utilisées par les Data </a:t>
            </a:r>
            <a:r>
              <a:rPr lang="fr-FR" dirty="0" err="1"/>
              <a:t>Scientists</a:t>
            </a:r>
            <a:r>
              <a:rPr lang="fr-FR" dirty="0"/>
              <a:t>.</a:t>
            </a:r>
          </a:p>
          <a:p>
            <a:r>
              <a:rPr lang="fr-FR" dirty="0"/>
              <a:t>C’est lui qui se débrouille pour faire marcher les POC et les travaux de recherche en production.</a:t>
            </a:r>
          </a:p>
          <a:p>
            <a:r>
              <a:rPr lang="fr-FR" dirty="0"/>
              <a:t>	</a:t>
            </a:r>
          </a:p>
          <a:p>
            <a:r>
              <a:rPr lang="fr-FR" dirty="0"/>
              <a:t>Il peut coder en Python, en C/C++ ou bien dans le langage utilisé par l’environnement de production.</a:t>
            </a:r>
          </a:p>
        </p:txBody>
      </p:sp>
      <p:pic>
        <p:nvPicPr>
          <p:cNvPr id="28" name="Graphique 27" descr="Scientifique">
            <a:extLst>
              <a:ext uri="{FF2B5EF4-FFF2-40B4-BE49-F238E27FC236}">
                <a16:creationId xmlns:a16="http://schemas.microsoft.com/office/drawing/2014/main" id="{FE8FEF2B-8681-E544-B456-9BF77FD2DF4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258746" y="3906084"/>
            <a:ext cx="914400" cy="914400"/>
          </a:xfrm>
          <a:prstGeom prst="rect">
            <a:avLst/>
          </a:prstGeom>
        </p:spPr>
      </p:pic>
      <p:pic>
        <p:nvPicPr>
          <p:cNvPr id="29" name="Graphique 28" descr="Soudeur">
            <a:extLst>
              <a:ext uri="{FF2B5EF4-FFF2-40B4-BE49-F238E27FC236}">
                <a16:creationId xmlns:a16="http://schemas.microsoft.com/office/drawing/2014/main" id="{12D208CF-852B-E944-83AB-85BFFFD998D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63084" y="3910559"/>
            <a:ext cx="914400" cy="914400"/>
          </a:xfrm>
          <a:prstGeom prst="rect">
            <a:avLst/>
          </a:prstGeom>
        </p:spPr>
      </p:pic>
      <p:pic>
        <p:nvPicPr>
          <p:cNvPr id="30" name="Graphique 29" descr="Ouvrier du bâtiment">
            <a:extLst>
              <a:ext uri="{FF2B5EF4-FFF2-40B4-BE49-F238E27FC236}">
                <a16:creationId xmlns:a16="http://schemas.microsoft.com/office/drawing/2014/main" id="{518C6F56-E48C-FD45-A5FA-56EB96A6E29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018854" y="3910559"/>
            <a:ext cx="914400" cy="914400"/>
          </a:xfrm>
          <a:prstGeom prst="rect">
            <a:avLst/>
          </a:prstGeom>
        </p:spPr>
      </p:pic>
      <p:pic>
        <p:nvPicPr>
          <p:cNvPr id="31" name="Graphique 30" descr="Chef">
            <a:extLst>
              <a:ext uri="{FF2B5EF4-FFF2-40B4-BE49-F238E27FC236}">
                <a16:creationId xmlns:a16="http://schemas.microsoft.com/office/drawing/2014/main" id="{F7DE0FB6-610C-8840-A692-80604A95436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600242" y="3910559"/>
            <a:ext cx="914400" cy="914400"/>
          </a:xfrm>
          <a:prstGeom prst="rect">
            <a:avLst/>
          </a:prstGeom>
        </p:spPr>
      </p:pic>
      <p:sp>
        <p:nvSpPr>
          <p:cNvPr id="32" name="Cadre 31">
            <a:extLst>
              <a:ext uri="{FF2B5EF4-FFF2-40B4-BE49-F238E27FC236}">
                <a16:creationId xmlns:a16="http://schemas.microsoft.com/office/drawing/2014/main" id="{26B85C90-B6B4-8D45-9126-C6B8131D27EF}"/>
              </a:ext>
            </a:extLst>
          </p:cNvPr>
          <p:cNvSpPr/>
          <p:nvPr/>
        </p:nvSpPr>
        <p:spPr>
          <a:xfrm>
            <a:off x="6096000" y="3778497"/>
            <a:ext cx="3198314" cy="2222537"/>
          </a:xfrm>
          <a:prstGeom prst="frame">
            <a:avLst>
              <a:gd name="adj1" fmla="val 216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79649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781B2DB0-046A-3D4B-921B-71D7A8345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’IA et le </a:t>
            </a:r>
            <a:br>
              <a:rPr lang="fr-FR" dirty="0"/>
            </a:br>
            <a:r>
              <a:rPr lang="fr-FR" dirty="0"/>
              <a:t>Machine Learning</a:t>
            </a:r>
          </a:p>
        </p:txBody>
      </p:sp>
    </p:spTree>
    <p:extLst>
      <p:ext uri="{BB962C8B-B14F-4D97-AF65-F5344CB8AC3E}">
        <p14:creationId xmlns:p14="http://schemas.microsoft.com/office/powerpoint/2010/main" val="2691187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xe des métiers du Machine Learning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9" name="Graphique 8" descr="Internet">
            <a:extLst>
              <a:ext uri="{FF2B5EF4-FFF2-40B4-BE49-F238E27FC236}">
                <a16:creationId xmlns:a16="http://schemas.microsoft.com/office/drawing/2014/main" id="{A124A98C-E974-2847-BBBA-45A5789F2A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8869" y="2114216"/>
            <a:ext cx="914400" cy="914400"/>
          </a:xfrm>
          <a:prstGeom prst="rect">
            <a:avLst/>
          </a:prstGeom>
        </p:spPr>
      </p:pic>
      <p:pic>
        <p:nvPicPr>
          <p:cNvPr id="17" name="Graphique 16" descr="Journal">
            <a:extLst>
              <a:ext uri="{FF2B5EF4-FFF2-40B4-BE49-F238E27FC236}">
                <a16:creationId xmlns:a16="http://schemas.microsoft.com/office/drawing/2014/main" id="{73790B0D-23C6-374C-BF64-1695D549F1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4685" y="4004661"/>
            <a:ext cx="914400" cy="914400"/>
          </a:xfrm>
          <a:prstGeom prst="rect">
            <a:avLst/>
          </a:prstGeom>
        </p:spPr>
      </p:pic>
      <p:pic>
        <p:nvPicPr>
          <p:cNvPr id="19" name="Graphique 18" descr="Tableau">
            <a:extLst>
              <a:ext uri="{FF2B5EF4-FFF2-40B4-BE49-F238E27FC236}">
                <a16:creationId xmlns:a16="http://schemas.microsoft.com/office/drawing/2014/main" id="{0549A413-E780-A54A-BAFD-975F38044D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00242" y="4948070"/>
            <a:ext cx="914400" cy="914400"/>
          </a:xfrm>
          <a:prstGeom prst="rect">
            <a:avLst/>
          </a:prstGeom>
        </p:spPr>
      </p:pic>
      <p:pic>
        <p:nvPicPr>
          <p:cNvPr id="21" name="Graphique 20" descr="Base de données">
            <a:extLst>
              <a:ext uri="{FF2B5EF4-FFF2-40B4-BE49-F238E27FC236}">
                <a16:creationId xmlns:a16="http://schemas.microsoft.com/office/drawing/2014/main" id="{E7681909-8BD7-9A45-A004-5038624BB8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11621" y="4889766"/>
            <a:ext cx="914400" cy="914400"/>
          </a:xfrm>
          <a:prstGeom prst="rect">
            <a:avLst/>
          </a:prstGeom>
        </p:spPr>
      </p:pic>
      <p:pic>
        <p:nvPicPr>
          <p:cNvPr id="23" name="Graphique 22" descr="Tête avec engrenages">
            <a:extLst>
              <a:ext uri="{FF2B5EF4-FFF2-40B4-BE49-F238E27FC236}">
                <a16:creationId xmlns:a16="http://schemas.microsoft.com/office/drawing/2014/main" id="{D4B2EB2F-D076-2747-9168-2CB5BEDBCF7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51929" y="4948070"/>
            <a:ext cx="914400" cy="914400"/>
          </a:xfrm>
          <a:prstGeom prst="rect">
            <a:avLst/>
          </a:prstGeom>
        </p:spPr>
      </p:pic>
      <p:pic>
        <p:nvPicPr>
          <p:cNvPr id="25" name="Graphique 24" descr="Engrenages">
            <a:extLst>
              <a:ext uri="{FF2B5EF4-FFF2-40B4-BE49-F238E27FC236}">
                <a16:creationId xmlns:a16="http://schemas.microsoft.com/office/drawing/2014/main" id="{379CD633-1888-304B-97AD-93547BAB65F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48684" y="4954513"/>
            <a:ext cx="914400" cy="914400"/>
          </a:xfrm>
          <a:prstGeom prst="rect">
            <a:avLst/>
          </a:prstGeom>
        </p:spPr>
      </p:pic>
      <p:cxnSp>
        <p:nvCxnSpPr>
          <p:cNvPr id="35" name="Connecteur droit avec flèche 34">
            <a:extLst>
              <a:ext uri="{FF2B5EF4-FFF2-40B4-BE49-F238E27FC236}">
                <a16:creationId xmlns:a16="http://schemas.microsoft.com/office/drawing/2014/main" id="{C7A49D75-6265-1641-8755-FF019C6A557D}"/>
              </a:ext>
            </a:extLst>
          </p:cNvPr>
          <p:cNvCxnSpPr>
            <a:stCxn id="23" idx="1"/>
            <a:endCxn id="25" idx="3"/>
          </p:cNvCxnSpPr>
          <p:nvPr/>
        </p:nvCxnSpPr>
        <p:spPr>
          <a:xfrm flipH="1">
            <a:off x="7263084" y="5405270"/>
            <a:ext cx="1188845" cy="64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EC932918-CC74-A647-B3A1-46CB58A818D3}"/>
              </a:ext>
            </a:extLst>
          </p:cNvPr>
          <p:cNvCxnSpPr>
            <a:cxnSpLocks/>
            <a:endCxn id="25" idx="1"/>
          </p:cNvCxnSpPr>
          <p:nvPr/>
        </p:nvCxnSpPr>
        <p:spPr>
          <a:xfrm>
            <a:off x="5514643" y="5408491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8F5E548E-7350-AE40-BD71-5517E65D8EBB}"/>
              </a:ext>
            </a:extLst>
          </p:cNvPr>
          <p:cNvCxnSpPr>
            <a:cxnSpLocks/>
          </p:cNvCxnSpPr>
          <p:nvPr/>
        </p:nvCxnSpPr>
        <p:spPr>
          <a:xfrm>
            <a:off x="3684267" y="5411713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E49B2E8F-711C-0B4E-BD97-D9A4086FD059}"/>
              </a:ext>
            </a:extLst>
          </p:cNvPr>
          <p:cNvCxnSpPr>
            <a:cxnSpLocks/>
          </p:cNvCxnSpPr>
          <p:nvPr/>
        </p:nvCxnSpPr>
        <p:spPr>
          <a:xfrm flipH="1">
            <a:off x="1271885" y="3117611"/>
            <a:ext cx="24005" cy="798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en angle 42">
            <a:extLst>
              <a:ext uri="{FF2B5EF4-FFF2-40B4-BE49-F238E27FC236}">
                <a16:creationId xmlns:a16="http://schemas.microsoft.com/office/drawing/2014/main" id="{834851BF-5871-6E4B-A8E0-A51B618396BE}"/>
              </a:ext>
            </a:extLst>
          </p:cNvPr>
          <p:cNvCxnSpPr>
            <a:cxnSpLocks/>
            <a:stCxn id="17" idx="2"/>
          </p:cNvCxnSpPr>
          <p:nvPr/>
        </p:nvCxnSpPr>
        <p:spPr>
          <a:xfrm rot="16200000" flipH="1">
            <a:off x="1795427" y="4395519"/>
            <a:ext cx="492654" cy="1539738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ZoneTexte 23">
            <a:extLst>
              <a:ext uri="{FF2B5EF4-FFF2-40B4-BE49-F238E27FC236}">
                <a16:creationId xmlns:a16="http://schemas.microsoft.com/office/drawing/2014/main" id="{86547537-A111-ED44-95E3-82DC90080C58}"/>
              </a:ext>
            </a:extLst>
          </p:cNvPr>
          <p:cNvSpPr txBox="1"/>
          <p:nvPr/>
        </p:nvSpPr>
        <p:spPr>
          <a:xfrm>
            <a:off x="2200696" y="1402801"/>
            <a:ext cx="10080580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Le </a:t>
            </a:r>
            <a:r>
              <a:rPr lang="fr-FR" dirty="0" err="1"/>
              <a:t>Research</a:t>
            </a:r>
            <a:r>
              <a:rPr lang="fr-FR" dirty="0"/>
              <a:t> </a:t>
            </a:r>
            <a:r>
              <a:rPr lang="fr-FR" dirty="0" err="1"/>
              <a:t>Scientist</a:t>
            </a:r>
            <a:r>
              <a:rPr lang="fr-FR" dirty="0"/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s’attaque aux problèmes qui ne peuvent pas (ou pas bien) être résolus par les algorithmes actuel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fait des preuves de concepts démontrant de nouvelles métho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et/ou fait des travaux théoriques avec des preuves mathématiqu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écrit des publications scientifiques pour partager ses travaux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/>
          </a:p>
        </p:txBody>
      </p:sp>
      <p:pic>
        <p:nvPicPr>
          <p:cNvPr id="29" name="Graphique 28" descr="Soudeur">
            <a:extLst>
              <a:ext uri="{FF2B5EF4-FFF2-40B4-BE49-F238E27FC236}">
                <a16:creationId xmlns:a16="http://schemas.microsoft.com/office/drawing/2014/main" id="{12D208CF-852B-E944-83AB-85BFFFD998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63084" y="3910559"/>
            <a:ext cx="914400" cy="914400"/>
          </a:xfrm>
          <a:prstGeom prst="rect">
            <a:avLst/>
          </a:prstGeom>
        </p:spPr>
      </p:pic>
      <p:pic>
        <p:nvPicPr>
          <p:cNvPr id="30" name="Graphique 29" descr="Ouvrier du bâtiment">
            <a:extLst>
              <a:ext uri="{FF2B5EF4-FFF2-40B4-BE49-F238E27FC236}">
                <a16:creationId xmlns:a16="http://schemas.microsoft.com/office/drawing/2014/main" id="{518C6F56-E48C-FD45-A5FA-56EB96A6E29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018854" y="3910559"/>
            <a:ext cx="914400" cy="914400"/>
          </a:xfrm>
          <a:prstGeom prst="rect">
            <a:avLst/>
          </a:prstGeom>
        </p:spPr>
      </p:pic>
      <p:pic>
        <p:nvPicPr>
          <p:cNvPr id="31" name="Graphique 30" descr="Chef">
            <a:extLst>
              <a:ext uri="{FF2B5EF4-FFF2-40B4-BE49-F238E27FC236}">
                <a16:creationId xmlns:a16="http://schemas.microsoft.com/office/drawing/2014/main" id="{F7DE0FB6-610C-8840-A692-80604A95436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00242" y="3910559"/>
            <a:ext cx="914400" cy="914400"/>
          </a:xfrm>
          <a:prstGeom prst="rect">
            <a:avLst/>
          </a:prstGeom>
        </p:spPr>
      </p:pic>
      <p:sp>
        <p:nvSpPr>
          <p:cNvPr id="32" name="Cadre 31">
            <a:extLst>
              <a:ext uri="{FF2B5EF4-FFF2-40B4-BE49-F238E27FC236}">
                <a16:creationId xmlns:a16="http://schemas.microsoft.com/office/drawing/2014/main" id="{26B85C90-B6B4-8D45-9126-C6B8131D27EF}"/>
              </a:ext>
            </a:extLst>
          </p:cNvPr>
          <p:cNvSpPr/>
          <p:nvPr/>
        </p:nvSpPr>
        <p:spPr>
          <a:xfrm>
            <a:off x="8249498" y="3807792"/>
            <a:ext cx="2225948" cy="2222537"/>
          </a:xfrm>
          <a:prstGeom prst="frame">
            <a:avLst>
              <a:gd name="adj1" fmla="val 216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pic>
        <p:nvPicPr>
          <p:cNvPr id="33" name="Graphique 32" descr="Scientifique">
            <a:extLst>
              <a:ext uri="{FF2B5EF4-FFF2-40B4-BE49-F238E27FC236}">
                <a16:creationId xmlns:a16="http://schemas.microsoft.com/office/drawing/2014/main" id="{E5AEB7B3-B92E-514B-A18A-15FD0DDDDC3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58746" y="390608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21051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xe des métiers du Machine Learning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9" name="Graphique 8" descr="Internet">
            <a:extLst>
              <a:ext uri="{FF2B5EF4-FFF2-40B4-BE49-F238E27FC236}">
                <a16:creationId xmlns:a16="http://schemas.microsoft.com/office/drawing/2014/main" id="{A124A98C-E974-2847-BBBA-45A5789F2A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8869" y="2114216"/>
            <a:ext cx="914400" cy="914400"/>
          </a:xfrm>
          <a:prstGeom prst="rect">
            <a:avLst/>
          </a:prstGeom>
        </p:spPr>
      </p:pic>
      <p:pic>
        <p:nvPicPr>
          <p:cNvPr id="17" name="Graphique 16" descr="Journal">
            <a:extLst>
              <a:ext uri="{FF2B5EF4-FFF2-40B4-BE49-F238E27FC236}">
                <a16:creationId xmlns:a16="http://schemas.microsoft.com/office/drawing/2014/main" id="{73790B0D-23C6-374C-BF64-1695D549F1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4685" y="4004661"/>
            <a:ext cx="914400" cy="914400"/>
          </a:xfrm>
          <a:prstGeom prst="rect">
            <a:avLst/>
          </a:prstGeom>
        </p:spPr>
      </p:pic>
      <p:pic>
        <p:nvPicPr>
          <p:cNvPr id="19" name="Graphique 18" descr="Tableau">
            <a:extLst>
              <a:ext uri="{FF2B5EF4-FFF2-40B4-BE49-F238E27FC236}">
                <a16:creationId xmlns:a16="http://schemas.microsoft.com/office/drawing/2014/main" id="{0549A413-E780-A54A-BAFD-975F38044D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00242" y="4948070"/>
            <a:ext cx="914400" cy="914400"/>
          </a:xfrm>
          <a:prstGeom prst="rect">
            <a:avLst/>
          </a:prstGeom>
        </p:spPr>
      </p:pic>
      <p:pic>
        <p:nvPicPr>
          <p:cNvPr id="21" name="Graphique 20" descr="Base de données">
            <a:extLst>
              <a:ext uri="{FF2B5EF4-FFF2-40B4-BE49-F238E27FC236}">
                <a16:creationId xmlns:a16="http://schemas.microsoft.com/office/drawing/2014/main" id="{E7681909-8BD7-9A45-A004-5038624BB8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11621" y="4889766"/>
            <a:ext cx="914400" cy="914400"/>
          </a:xfrm>
          <a:prstGeom prst="rect">
            <a:avLst/>
          </a:prstGeom>
        </p:spPr>
      </p:pic>
      <p:pic>
        <p:nvPicPr>
          <p:cNvPr id="23" name="Graphique 22" descr="Tête avec engrenages">
            <a:extLst>
              <a:ext uri="{FF2B5EF4-FFF2-40B4-BE49-F238E27FC236}">
                <a16:creationId xmlns:a16="http://schemas.microsoft.com/office/drawing/2014/main" id="{D4B2EB2F-D076-2747-9168-2CB5BEDBCF7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51929" y="4948070"/>
            <a:ext cx="914400" cy="914400"/>
          </a:xfrm>
          <a:prstGeom prst="rect">
            <a:avLst/>
          </a:prstGeom>
        </p:spPr>
      </p:pic>
      <p:pic>
        <p:nvPicPr>
          <p:cNvPr id="25" name="Graphique 24" descr="Engrenages">
            <a:extLst>
              <a:ext uri="{FF2B5EF4-FFF2-40B4-BE49-F238E27FC236}">
                <a16:creationId xmlns:a16="http://schemas.microsoft.com/office/drawing/2014/main" id="{379CD633-1888-304B-97AD-93547BAB65F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48684" y="4954513"/>
            <a:ext cx="914400" cy="914400"/>
          </a:xfrm>
          <a:prstGeom prst="rect">
            <a:avLst/>
          </a:prstGeom>
        </p:spPr>
      </p:pic>
      <p:cxnSp>
        <p:nvCxnSpPr>
          <p:cNvPr id="35" name="Connecteur droit avec flèche 34">
            <a:extLst>
              <a:ext uri="{FF2B5EF4-FFF2-40B4-BE49-F238E27FC236}">
                <a16:creationId xmlns:a16="http://schemas.microsoft.com/office/drawing/2014/main" id="{C7A49D75-6265-1641-8755-FF019C6A557D}"/>
              </a:ext>
            </a:extLst>
          </p:cNvPr>
          <p:cNvCxnSpPr>
            <a:stCxn id="23" idx="1"/>
            <a:endCxn id="25" idx="3"/>
          </p:cNvCxnSpPr>
          <p:nvPr/>
        </p:nvCxnSpPr>
        <p:spPr>
          <a:xfrm flipH="1">
            <a:off x="7263084" y="5405270"/>
            <a:ext cx="1188845" cy="64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EC932918-CC74-A647-B3A1-46CB58A818D3}"/>
              </a:ext>
            </a:extLst>
          </p:cNvPr>
          <p:cNvCxnSpPr>
            <a:cxnSpLocks/>
            <a:endCxn id="25" idx="1"/>
          </p:cNvCxnSpPr>
          <p:nvPr/>
        </p:nvCxnSpPr>
        <p:spPr>
          <a:xfrm>
            <a:off x="5514643" y="5408491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8F5E548E-7350-AE40-BD71-5517E65D8EBB}"/>
              </a:ext>
            </a:extLst>
          </p:cNvPr>
          <p:cNvCxnSpPr>
            <a:cxnSpLocks/>
          </p:cNvCxnSpPr>
          <p:nvPr/>
        </p:nvCxnSpPr>
        <p:spPr>
          <a:xfrm>
            <a:off x="3684267" y="5411713"/>
            <a:ext cx="834041" cy="32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E49B2E8F-711C-0B4E-BD97-D9A4086FD059}"/>
              </a:ext>
            </a:extLst>
          </p:cNvPr>
          <p:cNvCxnSpPr>
            <a:cxnSpLocks/>
          </p:cNvCxnSpPr>
          <p:nvPr/>
        </p:nvCxnSpPr>
        <p:spPr>
          <a:xfrm flipH="1">
            <a:off x="1271885" y="3117611"/>
            <a:ext cx="24005" cy="798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en angle 42">
            <a:extLst>
              <a:ext uri="{FF2B5EF4-FFF2-40B4-BE49-F238E27FC236}">
                <a16:creationId xmlns:a16="http://schemas.microsoft.com/office/drawing/2014/main" id="{834851BF-5871-6E4B-A8E0-A51B618396BE}"/>
              </a:ext>
            </a:extLst>
          </p:cNvPr>
          <p:cNvCxnSpPr>
            <a:cxnSpLocks/>
            <a:stCxn id="17" idx="2"/>
          </p:cNvCxnSpPr>
          <p:nvPr/>
        </p:nvCxnSpPr>
        <p:spPr>
          <a:xfrm rot="16200000" flipH="1">
            <a:off x="1795427" y="4395519"/>
            <a:ext cx="492654" cy="1539738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ZoneTexte 23">
            <a:extLst>
              <a:ext uri="{FF2B5EF4-FFF2-40B4-BE49-F238E27FC236}">
                <a16:creationId xmlns:a16="http://schemas.microsoft.com/office/drawing/2014/main" id="{86547537-A111-ED44-95E3-82DC90080C58}"/>
              </a:ext>
            </a:extLst>
          </p:cNvPr>
          <p:cNvSpPr txBox="1"/>
          <p:nvPr/>
        </p:nvSpPr>
        <p:spPr>
          <a:xfrm>
            <a:off x="2200696" y="1402801"/>
            <a:ext cx="9338710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Le Speech/Computer Vision/Machine Learning </a:t>
            </a:r>
            <a:r>
              <a:rPr lang="fr-FR" dirty="0" err="1"/>
              <a:t>Scientist</a:t>
            </a:r>
            <a:r>
              <a:rPr lang="fr-FR" dirty="0"/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Fait en sorte de vraiment résoudre des problèmes rencontrées dans un domaine applicatif</a:t>
            </a:r>
          </a:p>
          <a:p>
            <a:endParaRPr lang="fr-FR" dirty="0"/>
          </a:p>
          <a:p>
            <a:r>
              <a:rPr lang="fr-FR" dirty="0"/>
              <a:t>Cela comprend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Le travail sur les données en entrée des modè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La sélection et l’entrainement des modè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L’implémentation des modèles et des algorith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La recherche de nouvelles méthodes si celles actuelles ne sont pas suffisantes</a:t>
            </a:r>
          </a:p>
        </p:txBody>
      </p:sp>
      <p:pic>
        <p:nvPicPr>
          <p:cNvPr id="29" name="Graphique 28" descr="Soudeur">
            <a:extLst>
              <a:ext uri="{FF2B5EF4-FFF2-40B4-BE49-F238E27FC236}">
                <a16:creationId xmlns:a16="http://schemas.microsoft.com/office/drawing/2014/main" id="{12D208CF-852B-E944-83AB-85BFFFD998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63084" y="3910559"/>
            <a:ext cx="914400" cy="914400"/>
          </a:xfrm>
          <a:prstGeom prst="rect">
            <a:avLst/>
          </a:prstGeom>
        </p:spPr>
      </p:pic>
      <p:pic>
        <p:nvPicPr>
          <p:cNvPr id="30" name="Graphique 29" descr="Ouvrier du bâtiment">
            <a:extLst>
              <a:ext uri="{FF2B5EF4-FFF2-40B4-BE49-F238E27FC236}">
                <a16:creationId xmlns:a16="http://schemas.microsoft.com/office/drawing/2014/main" id="{518C6F56-E48C-FD45-A5FA-56EB96A6E29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018854" y="3910559"/>
            <a:ext cx="914400" cy="914400"/>
          </a:xfrm>
          <a:prstGeom prst="rect">
            <a:avLst/>
          </a:prstGeom>
        </p:spPr>
      </p:pic>
      <p:pic>
        <p:nvPicPr>
          <p:cNvPr id="31" name="Graphique 30" descr="Chef">
            <a:extLst>
              <a:ext uri="{FF2B5EF4-FFF2-40B4-BE49-F238E27FC236}">
                <a16:creationId xmlns:a16="http://schemas.microsoft.com/office/drawing/2014/main" id="{F7DE0FB6-610C-8840-A692-80604A95436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00242" y="3910559"/>
            <a:ext cx="914400" cy="914400"/>
          </a:xfrm>
          <a:prstGeom prst="rect">
            <a:avLst/>
          </a:prstGeom>
        </p:spPr>
      </p:pic>
      <p:sp>
        <p:nvSpPr>
          <p:cNvPr id="32" name="Cadre 31">
            <a:extLst>
              <a:ext uri="{FF2B5EF4-FFF2-40B4-BE49-F238E27FC236}">
                <a16:creationId xmlns:a16="http://schemas.microsoft.com/office/drawing/2014/main" id="{26B85C90-B6B4-8D45-9126-C6B8131D27EF}"/>
              </a:ext>
            </a:extLst>
          </p:cNvPr>
          <p:cNvSpPr/>
          <p:nvPr/>
        </p:nvSpPr>
        <p:spPr>
          <a:xfrm>
            <a:off x="4250577" y="3807792"/>
            <a:ext cx="6224869" cy="2222537"/>
          </a:xfrm>
          <a:prstGeom prst="frame">
            <a:avLst>
              <a:gd name="adj1" fmla="val 216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pic>
        <p:nvPicPr>
          <p:cNvPr id="33" name="Graphique 32" descr="Scientifique">
            <a:extLst>
              <a:ext uri="{FF2B5EF4-FFF2-40B4-BE49-F238E27FC236}">
                <a16:creationId xmlns:a16="http://schemas.microsoft.com/office/drawing/2014/main" id="{E5AEB7B3-B92E-514B-A18A-15FD0DDDDC3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58746" y="390608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672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>L’IA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211C0CB-65A1-854E-8A19-A03FA44708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485" y="1700981"/>
            <a:ext cx="5200374" cy="4475981"/>
          </a:xfrm>
        </p:spPr>
        <p:txBody>
          <a:bodyPr>
            <a:normAutofit/>
          </a:bodyPr>
          <a:lstStyle/>
          <a:p>
            <a:r>
              <a:rPr lang="fr-FR" sz="2000" dirty="0"/>
              <a:t>Définition (Wikipédia): L’Intelligence Artificielle est l’ensemble des théories et processus permettant à des machines de simuler une forme d’intelligenc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7DC5CFF-D8BB-3944-9F46-86E9588730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976860"/>
            <a:ext cx="5200374" cy="3461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97901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>L’IA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211C0CB-65A1-854E-8A19-A03FA44708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8116" y="2229619"/>
            <a:ext cx="5200374" cy="4475981"/>
          </a:xfrm>
        </p:spPr>
        <p:txBody>
          <a:bodyPr>
            <a:normAutofit/>
          </a:bodyPr>
          <a:lstStyle/>
          <a:p>
            <a:r>
              <a:rPr lang="fr-FR" sz="3600" dirty="0"/>
              <a:t>C’est de l’IA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5F30D33-90CB-0441-8DA1-DC06284B6D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346" y="1979277"/>
            <a:ext cx="5266169" cy="3328219"/>
          </a:xfrm>
          <a:prstGeom prst="rect">
            <a:avLst/>
          </a:prstGeom>
        </p:spPr>
      </p:pic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8E522933-F636-7F4B-8B1E-080BF5330BFD}"/>
              </a:ext>
            </a:extLst>
          </p:cNvPr>
          <p:cNvCxnSpPr>
            <a:cxnSpLocks/>
          </p:cNvCxnSpPr>
          <p:nvPr/>
        </p:nvCxnSpPr>
        <p:spPr>
          <a:xfrm>
            <a:off x="4028303" y="2767914"/>
            <a:ext cx="2594919" cy="875472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67993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>L’Apprentissage Automatique (Machine Learning)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sp>
        <p:nvSpPr>
          <p:cNvPr id="11" name="Espace réservé du contenu 4">
            <a:extLst>
              <a:ext uri="{FF2B5EF4-FFF2-40B4-BE49-F238E27FC236}">
                <a16:creationId xmlns:a16="http://schemas.microsoft.com/office/drawing/2014/main" id="{3AAEE6F7-9080-8C47-8950-D1FF396C8C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484" y="1233020"/>
            <a:ext cx="10592596" cy="1178143"/>
          </a:xfrm>
        </p:spPr>
        <p:txBody>
          <a:bodyPr>
            <a:normAutofit fontScale="92500" lnSpcReduction="10000"/>
          </a:bodyPr>
          <a:lstStyle/>
          <a:p>
            <a:r>
              <a:rPr lang="fr-FR" sz="2000" dirty="0"/>
              <a:t>Définition (Wikipédia): Le Machine Learning est l’ensemble des algorithmes et modèles mathématiques permettant à un système d’effectuer une tâche sans instructions explicites, en se basant sur de l’inférence et de l’extraction de motifs à partir de données.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568511F-C536-664D-A1E9-EB8377FF27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6323" y="2522374"/>
            <a:ext cx="7287805" cy="3589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7899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pprentissage supervisé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F098FE1-D256-8A4A-8F50-F73048E96C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1839149"/>
            <a:ext cx="755742" cy="87507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691C021-6DDF-5245-B58F-2BDF4CCA3E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2714221"/>
            <a:ext cx="755742" cy="87507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EACFD7C-4674-9B49-9343-5607B083F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3589293"/>
            <a:ext cx="755742" cy="87507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2E88C0A-FAF0-DD41-9FFB-954B3EF9CD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4464365"/>
            <a:ext cx="755742" cy="875072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2EDAF44D-0882-EF43-B892-BB89B6C932B8}"/>
              </a:ext>
            </a:extLst>
          </p:cNvPr>
          <p:cNvSpPr txBox="1"/>
          <p:nvPr/>
        </p:nvSpPr>
        <p:spPr>
          <a:xfrm>
            <a:off x="1114321" y="1469817"/>
            <a:ext cx="13933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donné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8EEF01DA-C240-204C-A338-887B96BD8B02}"/>
              </a:ext>
            </a:extLst>
          </p:cNvPr>
          <p:cNvSpPr txBox="1"/>
          <p:nvPr/>
        </p:nvSpPr>
        <p:spPr>
          <a:xfrm>
            <a:off x="2507651" y="1469817"/>
            <a:ext cx="193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Exemples de cibles</a:t>
            </a:r>
          </a:p>
        </p:txBody>
      </p: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F4D4BE6E-098E-044E-AAB6-2B947C4229E6}"/>
              </a:ext>
            </a:extLst>
          </p:cNvPr>
          <p:cNvGrpSpPr/>
          <p:nvPr/>
        </p:nvGrpSpPr>
        <p:grpSpPr>
          <a:xfrm>
            <a:off x="3053541" y="1905151"/>
            <a:ext cx="686107" cy="702343"/>
            <a:chOff x="8987094" y="1322173"/>
            <a:chExt cx="895158" cy="881890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050A4CBA-7992-144D-91DA-E42B470D4552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4AB57550-5791-6644-BE68-E9C57C8BE912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7CCD47A5-5C1D-5144-A37E-D7C220C993D3}"/>
                </a:ext>
              </a:extLst>
            </p:cNvPr>
            <p:cNvCxnSpPr>
              <a:stCxn id="23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738BC398-8824-DE4E-8F24-EA80E980B3D8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32CFD4FE-4860-BD4F-9D38-1CCD53BB747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>
              <a:extLst>
                <a:ext uri="{FF2B5EF4-FFF2-40B4-BE49-F238E27FC236}">
                  <a16:creationId xmlns:a16="http://schemas.microsoft.com/office/drawing/2014/main" id="{44BA0672-87B6-EC4A-A0C0-DAD8ED8FE0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69CA77D2-4945-5C46-91C7-06024F079277}"/>
              </a:ext>
            </a:extLst>
          </p:cNvPr>
          <p:cNvGrpSpPr/>
          <p:nvPr/>
        </p:nvGrpSpPr>
        <p:grpSpPr>
          <a:xfrm>
            <a:off x="3053540" y="2815924"/>
            <a:ext cx="686107" cy="702343"/>
            <a:chOff x="8987094" y="1322173"/>
            <a:chExt cx="895158" cy="881890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AAADC0FE-A4C0-0645-8988-A76EF01C8BD0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8710A636-2887-5343-A7BC-47921E1B5C87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35" name="Connecteur droit 34">
              <a:extLst>
                <a:ext uri="{FF2B5EF4-FFF2-40B4-BE49-F238E27FC236}">
                  <a16:creationId xmlns:a16="http://schemas.microsoft.com/office/drawing/2014/main" id="{417955DC-F0A1-9748-B803-BC00AEF2C213}"/>
                </a:ext>
              </a:extLst>
            </p:cNvPr>
            <p:cNvCxnSpPr>
              <a:stCxn id="33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eur droit 35">
              <a:extLst>
                <a:ext uri="{FF2B5EF4-FFF2-40B4-BE49-F238E27FC236}">
                  <a16:creationId xmlns:a16="http://schemas.microsoft.com/office/drawing/2014/main" id="{5E90F815-7935-184F-86D2-B2BEB10B425B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eur droit 36">
              <a:extLst>
                <a:ext uri="{FF2B5EF4-FFF2-40B4-BE49-F238E27FC236}">
                  <a16:creationId xmlns:a16="http://schemas.microsoft.com/office/drawing/2014/main" id="{A2FC10B7-4EF9-8C4A-9108-D32C094D72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37">
              <a:extLst>
                <a:ext uri="{FF2B5EF4-FFF2-40B4-BE49-F238E27FC236}">
                  <a16:creationId xmlns:a16="http://schemas.microsoft.com/office/drawing/2014/main" id="{5D2917CE-CC7F-F642-B603-FB863DD4B9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3EC60D26-3275-1945-AB0D-DB194B5588DC}"/>
              </a:ext>
            </a:extLst>
          </p:cNvPr>
          <p:cNvGrpSpPr/>
          <p:nvPr/>
        </p:nvGrpSpPr>
        <p:grpSpPr>
          <a:xfrm>
            <a:off x="3053539" y="3742304"/>
            <a:ext cx="686107" cy="702343"/>
            <a:chOff x="8987094" y="1322173"/>
            <a:chExt cx="895158" cy="881890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D2B9F0D3-C2D6-BE42-B4AF-8AE00F53BBF6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A73BA5F9-691F-8F41-A89B-7BAD488C3BB1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42" name="Connecteur droit 41">
              <a:extLst>
                <a:ext uri="{FF2B5EF4-FFF2-40B4-BE49-F238E27FC236}">
                  <a16:creationId xmlns:a16="http://schemas.microsoft.com/office/drawing/2014/main" id="{C6C96F09-DB90-0942-8AA8-8DFDDCA1C222}"/>
                </a:ext>
              </a:extLst>
            </p:cNvPr>
            <p:cNvCxnSpPr>
              <a:stCxn id="40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eur droit 42">
              <a:extLst>
                <a:ext uri="{FF2B5EF4-FFF2-40B4-BE49-F238E27FC236}">
                  <a16:creationId xmlns:a16="http://schemas.microsoft.com/office/drawing/2014/main" id="{637064D1-8078-1E4B-AC6B-6EA7B5EACF58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B7419E69-1EBD-2144-ABE6-D8F7AD8D914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eur droit 44">
              <a:extLst>
                <a:ext uri="{FF2B5EF4-FFF2-40B4-BE49-F238E27FC236}">
                  <a16:creationId xmlns:a16="http://schemas.microsoft.com/office/drawing/2014/main" id="{68C2B2FF-35DB-8A47-A394-363F9D45ECC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FB50D23A-7DF6-D844-B3F1-19D5D1A6774E}"/>
              </a:ext>
            </a:extLst>
          </p:cNvPr>
          <p:cNvGrpSpPr/>
          <p:nvPr/>
        </p:nvGrpSpPr>
        <p:grpSpPr>
          <a:xfrm>
            <a:off x="3053538" y="4603748"/>
            <a:ext cx="686107" cy="702343"/>
            <a:chOff x="8987094" y="1322173"/>
            <a:chExt cx="895158" cy="881890"/>
          </a:xfrm>
        </p:grpSpPr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51653EB9-1AE1-784B-BF39-6DD38205D330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40BCD56B-DD02-9740-9E6F-51E0E30C2D47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49" name="Connecteur droit 48">
              <a:extLst>
                <a:ext uri="{FF2B5EF4-FFF2-40B4-BE49-F238E27FC236}">
                  <a16:creationId xmlns:a16="http://schemas.microsoft.com/office/drawing/2014/main" id="{458DFBBA-B4A9-6F4B-B274-F22D847A5B31}"/>
                </a:ext>
              </a:extLst>
            </p:cNvPr>
            <p:cNvCxnSpPr>
              <a:stCxn id="47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eur droit 49">
              <a:extLst>
                <a:ext uri="{FF2B5EF4-FFF2-40B4-BE49-F238E27FC236}">
                  <a16:creationId xmlns:a16="http://schemas.microsoft.com/office/drawing/2014/main" id="{84A00243-48F5-2945-8822-A7A99F08C77C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eur droit 50">
              <a:extLst>
                <a:ext uri="{FF2B5EF4-FFF2-40B4-BE49-F238E27FC236}">
                  <a16:creationId xmlns:a16="http://schemas.microsoft.com/office/drawing/2014/main" id="{46A47B24-9499-6E4A-97BC-F6134C7DBE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eur droit 51">
              <a:extLst>
                <a:ext uri="{FF2B5EF4-FFF2-40B4-BE49-F238E27FC236}">
                  <a16:creationId xmlns:a16="http://schemas.microsoft.com/office/drawing/2014/main" id="{E1378A83-DBA5-FF4C-9198-67CD2DC7A9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8633043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pprentissage supervisé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F098FE1-D256-8A4A-8F50-F73048E96C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6" y="1839149"/>
            <a:ext cx="755742" cy="87507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691C021-6DDF-5245-B58F-2BDF4CCA3E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6" y="2714221"/>
            <a:ext cx="755742" cy="87507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EACFD7C-4674-9B49-9343-5607B083F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6" y="3589293"/>
            <a:ext cx="755742" cy="87507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2E88C0A-FAF0-DD41-9FFB-954B3EF9CD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6" y="4464365"/>
            <a:ext cx="755742" cy="875072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2EDAF44D-0882-EF43-B892-BB89B6C932B8}"/>
              </a:ext>
            </a:extLst>
          </p:cNvPr>
          <p:cNvSpPr txBox="1"/>
          <p:nvPr/>
        </p:nvSpPr>
        <p:spPr>
          <a:xfrm>
            <a:off x="1114322" y="1469817"/>
            <a:ext cx="13933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donné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8EEF01DA-C240-204C-A338-887B96BD8B02}"/>
              </a:ext>
            </a:extLst>
          </p:cNvPr>
          <p:cNvSpPr txBox="1"/>
          <p:nvPr/>
        </p:nvSpPr>
        <p:spPr>
          <a:xfrm>
            <a:off x="2507652" y="1469817"/>
            <a:ext cx="1969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Exemples de cibles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F929922F-EA43-0B45-8D75-B0B19B9B39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1913" t="19821" r="-1504" b="71924"/>
          <a:stretch/>
        </p:blipFill>
        <p:spPr>
          <a:xfrm>
            <a:off x="7444045" y="2702418"/>
            <a:ext cx="1136822" cy="1157471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4CB5C31D-9360-5043-8501-D29D801E80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5976548" y="2865888"/>
            <a:ext cx="755742" cy="875072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AC80E237-A3D3-B64A-B956-A38F904B1F98}"/>
              </a:ext>
            </a:extLst>
          </p:cNvPr>
          <p:cNvSpPr txBox="1"/>
          <p:nvPr/>
        </p:nvSpPr>
        <p:spPr>
          <a:xfrm>
            <a:off x="7356718" y="2356826"/>
            <a:ext cx="1218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Un modèle</a:t>
            </a:r>
          </a:p>
        </p:txBody>
      </p: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F4D4BE6E-098E-044E-AAB6-2B947C4229E6}"/>
              </a:ext>
            </a:extLst>
          </p:cNvPr>
          <p:cNvGrpSpPr/>
          <p:nvPr/>
        </p:nvGrpSpPr>
        <p:grpSpPr>
          <a:xfrm>
            <a:off x="3053542" y="1905151"/>
            <a:ext cx="686107" cy="702343"/>
            <a:chOff x="8987094" y="1322173"/>
            <a:chExt cx="895158" cy="881890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050A4CBA-7992-144D-91DA-E42B470D4552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4AB57550-5791-6644-BE68-E9C57C8BE912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7CCD47A5-5C1D-5144-A37E-D7C220C993D3}"/>
                </a:ext>
              </a:extLst>
            </p:cNvPr>
            <p:cNvCxnSpPr>
              <a:stCxn id="23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738BC398-8824-DE4E-8F24-EA80E980B3D8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32CFD4FE-4860-BD4F-9D38-1CCD53BB747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>
              <a:extLst>
                <a:ext uri="{FF2B5EF4-FFF2-40B4-BE49-F238E27FC236}">
                  <a16:creationId xmlns:a16="http://schemas.microsoft.com/office/drawing/2014/main" id="{44BA0672-87B6-EC4A-A0C0-DAD8ED8FE0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69CA77D2-4945-5C46-91C7-06024F079277}"/>
              </a:ext>
            </a:extLst>
          </p:cNvPr>
          <p:cNvGrpSpPr/>
          <p:nvPr/>
        </p:nvGrpSpPr>
        <p:grpSpPr>
          <a:xfrm>
            <a:off x="3053541" y="2815924"/>
            <a:ext cx="686107" cy="702343"/>
            <a:chOff x="8987094" y="1322173"/>
            <a:chExt cx="895158" cy="881890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AAADC0FE-A4C0-0645-8988-A76EF01C8BD0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8710A636-2887-5343-A7BC-47921E1B5C87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35" name="Connecteur droit 34">
              <a:extLst>
                <a:ext uri="{FF2B5EF4-FFF2-40B4-BE49-F238E27FC236}">
                  <a16:creationId xmlns:a16="http://schemas.microsoft.com/office/drawing/2014/main" id="{417955DC-F0A1-9748-B803-BC00AEF2C213}"/>
                </a:ext>
              </a:extLst>
            </p:cNvPr>
            <p:cNvCxnSpPr>
              <a:stCxn id="33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eur droit 35">
              <a:extLst>
                <a:ext uri="{FF2B5EF4-FFF2-40B4-BE49-F238E27FC236}">
                  <a16:creationId xmlns:a16="http://schemas.microsoft.com/office/drawing/2014/main" id="{5E90F815-7935-184F-86D2-B2BEB10B425B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eur droit 36">
              <a:extLst>
                <a:ext uri="{FF2B5EF4-FFF2-40B4-BE49-F238E27FC236}">
                  <a16:creationId xmlns:a16="http://schemas.microsoft.com/office/drawing/2014/main" id="{A2FC10B7-4EF9-8C4A-9108-D32C094D72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37">
              <a:extLst>
                <a:ext uri="{FF2B5EF4-FFF2-40B4-BE49-F238E27FC236}">
                  <a16:creationId xmlns:a16="http://schemas.microsoft.com/office/drawing/2014/main" id="{5D2917CE-CC7F-F642-B603-FB863DD4B9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3EC60D26-3275-1945-AB0D-DB194B5588DC}"/>
              </a:ext>
            </a:extLst>
          </p:cNvPr>
          <p:cNvGrpSpPr/>
          <p:nvPr/>
        </p:nvGrpSpPr>
        <p:grpSpPr>
          <a:xfrm>
            <a:off x="3053540" y="3742304"/>
            <a:ext cx="686107" cy="702343"/>
            <a:chOff x="8987094" y="1322173"/>
            <a:chExt cx="895158" cy="881890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D2B9F0D3-C2D6-BE42-B4AF-8AE00F53BBF6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A73BA5F9-691F-8F41-A89B-7BAD488C3BB1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42" name="Connecteur droit 41">
              <a:extLst>
                <a:ext uri="{FF2B5EF4-FFF2-40B4-BE49-F238E27FC236}">
                  <a16:creationId xmlns:a16="http://schemas.microsoft.com/office/drawing/2014/main" id="{C6C96F09-DB90-0942-8AA8-8DFDDCA1C222}"/>
                </a:ext>
              </a:extLst>
            </p:cNvPr>
            <p:cNvCxnSpPr>
              <a:stCxn id="40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eur droit 42">
              <a:extLst>
                <a:ext uri="{FF2B5EF4-FFF2-40B4-BE49-F238E27FC236}">
                  <a16:creationId xmlns:a16="http://schemas.microsoft.com/office/drawing/2014/main" id="{637064D1-8078-1E4B-AC6B-6EA7B5EACF58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B7419E69-1EBD-2144-ABE6-D8F7AD8D914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eur droit 44">
              <a:extLst>
                <a:ext uri="{FF2B5EF4-FFF2-40B4-BE49-F238E27FC236}">
                  <a16:creationId xmlns:a16="http://schemas.microsoft.com/office/drawing/2014/main" id="{68C2B2FF-35DB-8A47-A394-363F9D45ECC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FB50D23A-7DF6-D844-B3F1-19D5D1A6774E}"/>
              </a:ext>
            </a:extLst>
          </p:cNvPr>
          <p:cNvGrpSpPr/>
          <p:nvPr/>
        </p:nvGrpSpPr>
        <p:grpSpPr>
          <a:xfrm>
            <a:off x="3053539" y="4603748"/>
            <a:ext cx="686107" cy="702343"/>
            <a:chOff x="8987094" y="1322173"/>
            <a:chExt cx="895158" cy="881890"/>
          </a:xfrm>
        </p:grpSpPr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51653EB9-1AE1-784B-BF39-6DD38205D330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40BCD56B-DD02-9740-9E6F-51E0E30C2D47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49" name="Connecteur droit 48">
              <a:extLst>
                <a:ext uri="{FF2B5EF4-FFF2-40B4-BE49-F238E27FC236}">
                  <a16:creationId xmlns:a16="http://schemas.microsoft.com/office/drawing/2014/main" id="{458DFBBA-B4A9-6F4B-B274-F22D847A5B31}"/>
                </a:ext>
              </a:extLst>
            </p:cNvPr>
            <p:cNvCxnSpPr>
              <a:stCxn id="47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eur droit 49">
              <a:extLst>
                <a:ext uri="{FF2B5EF4-FFF2-40B4-BE49-F238E27FC236}">
                  <a16:creationId xmlns:a16="http://schemas.microsoft.com/office/drawing/2014/main" id="{84A00243-48F5-2945-8822-A7A99F08C77C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eur droit 50">
              <a:extLst>
                <a:ext uri="{FF2B5EF4-FFF2-40B4-BE49-F238E27FC236}">
                  <a16:creationId xmlns:a16="http://schemas.microsoft.com/office/drawing/2014/main" id="{46A47B24-9499-6E4A-97BC-F6134C7DBE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eur droit 51">
              <a:extLst>
                <a:ext uri="{FF2B5EF4-FFF2-40B4-BE49-F238E27FC236}">
                  <a16:creationId xmlns:a16="http://schemas.microsoft.com/office/drawing/2014/main" id="{E1378A83-DBA5-FF4C-9198-67CD2DC7A9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e 52">
            <a:extLst>
              <a:ext uri="{FF2B5EF4-FFF2-40B4-BE49-F238E27FC236}">
                <a16:creationId xmlns:a16="http://schemas.microsoft.com/office/drawing/2014/main" id="{2157F51E-F4E4-A841-8FA1-D3EF4DC71F9B}"/>
              </a:ext>
            </a:extLst>
          </p:cNvPr>
          <p:cNvGrpSpPr/>
          <p:nvPr/>
        </p:nvGrpSpPr>
        <p:grpSpPr>
          <a:xfrm>
            <a:off x="9156127" y="2952252"/>
            <a:ext cx="686107" cy="702343"/>
            <a:chOff x="8987094" y="1322173"/>
            <a:chExt cx="895158" cy="881890"/>
          </a:xfrm>
        </p:grpSpPr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6121F0C2-CAA1-9E42-94B7-4CA6484F467D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041866B9-70D1-8C41-8192-0BD4B53DDD8D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56" name="Connecteur droit 55">
              <a:extLst>
                <a:ext uri="{FF2B5EF4-FFF2-40B4-BE49-F238E27FC236}">
                  <a16:creationId xmlns:a16="http://schemas.microsoft.com/office/drawing/2014/main" id="{EC604E8A-FA08-A945-8DA1-D218740C3A3B}"/>
                </a:ext>
              </a:extLst>
            </p:cNvPr>
            <p:cNvCxnSpPr>
              <a:stCxn id="54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eur droit 56">
              <a:extLst>
                <a:ext uri="{FF2B5EF4-FFF2-40B4-BE49-F238E27FC236}">
                  <a16:creationId xmlns:a16="http://schemas.microsoft.com/office/drawing/2014/main" id="{92C7E50A-CA99-9D46-8BD1-3FB620D24BDD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eur droit 57">
              <a:extLst>
                <a:ext uri="{FF2B5EF4-FFF2-40B4-BE49-F238E27FC236}">
                  <a16:creationId xmlns:a16="http://schemas.microsoft.com/office/drawing/2014/main" id="{349FF2B4-0ECF-2D49-B43C-F2DF5AB6DB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eur droit 58">
              <a:extLst>
                <a:ext uri="{FF2B5EF4-FFF2-40B4-BE49-F238E27FC236}">
                  <a16:creationId xmlns:a16="http://schemas.microsoft.com/office/drawing/2014/main" id="{25BEDC56-C516-3A4D-B289-CB052430DF6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Connecteur droit avec flèche 60">
            <a:extLst>
              <a:ext uri="{FF2B5EF4-FFF2-40B4-BE49-F238E27FC236}">
                <a16:creationId xmlns:a16="http://schemas.microsoft.com/office/drawing/2014/main" id="{66424EC5-C3B0-9B45-A49F-58F2E3BF697A}"/>
              </a:ext>
            </a:extLst>
          </p:cNvPr>
          <p:cNvCxnSpPr>
            <a:stCxn id="20" idx="3"/>
          </p:cNvCxnSpPr>
          <p:nvPr/>
        </p:nvCxnSpPr>
        <p:spPr>
          <a:xfrm flipV="1">
            <a:off x="6732290" y="3299323"/>
            <a:ext cx="624428" cy="41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id="{2135FB97-F712-CC4C-8FA2-8451309DEB2A}"/>
              </a:ext>
            </a:extLst>
          </p:cNvPr>
          <p:cNvCxnSpPr/>
          <p:nvPr/>
        </p:nvCxnSpPr>
        <p:spPr>
          <a:xfrm flipV="1">
            <a:off x="8474225" y="3290973"/>
            <a:ext cx="624428" cy="41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ZoneTexte 62">
            <a:extLst>
              <a:ext uri="{FF2B5EF4-FFF2-40B4-BE49-F238E27FC236}">
                <a16:creationId xmlns:a16="http://schemas.microsoft.com/office/drawing/2014/main" id="{797302B2-1AB2-9849-9D93-8ED29515EE79}"/>
              </a:ext>
            </a:extLst>
          </p:cNvPr>
          <p:cNvSpPr txBox="1"/>
          <p:nvPr/>
        </p:nvSpPr>
        <p:spPr>
          <a:xfrm>
            <a:off x="5650293" y="2344889"/>
            <a:ext cx="12423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Une entrée</a:t>
            </a:r>
          </a:p>
        </p:txBody>
      </p:sp>
      <p:sp>
        <p:nvSpPr>
          <p:cNvPr id="64" name="ZoneTexte 63">
            <a:extLst>
              <a:ext uri="{FF2B5EF4-FFF2-40B4-BE49-F238E27FC236}">
                <a16:creationId xmlns:a16="http://schemas.microsoft.com/office/drawing/2014/main" id="{1ECA9A1D-4689-6643-9194-107504500EE9}"/>
              </a:ext>
            </a:extLst>
          </p:cNvPr>
          <p:cNvSpPr txBox="1"/>
          <p:nvPr/>
        </p:nvSpPr>
        <p:spPr>
          <a:xfrm>
            <a:off x="8822428" y="2353522"/>
            <a:ext cx="1159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Une sortie</a:t>
            </a:r>
          </a:p>
        </p:txBody>
      </p:sp>
      <p:pic>
        <p:nvPicPr>
          <p:cNvPr id="65" name="Image 64">
            <a:extLst>
              <a:ext uri="{FF2B5EF4-FFF2-40B4-BE49-F238E27FC236}">
                <a16:creationId xmlns:a16="http://schemas.microsoft.com/office/drawing/2014/main" id="{89813A7E-0886-7745-8DA0-8924389991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313" t="55121" r="29495" b="39257"/>
          <a:stretch/>
        </p:blipFill>
        <p:spPr>
          <a:xfrm>
            <a:off x="7485367" y="4385854"/>
            <a:ext cx="934785" cy="761962"/>
          </a:xfrm>
          <a:prstGeom prst="rect">
            <a:avLst/>
          </a:prstGeom>
        </p:spPr>
      </p:pic>
      <p:sp>
        <p:nvSpPr>
          <p:cNvPr id="66" name="ZoneTexte 65">
            <a:extLst>
              <a:ext uri="{FF2B5EF4-FFF2-40B4-BE49-F238E27FC236}">
                <a16:creationId xmlns:a16="http://schemas.microsoft.com/office/drawing/2014/main" id="{B98848F0-5DB8-BA45-9ABE-96D30ADDB4D2}"/>
              </a:ext>
            </a:extLst>
          </p:cNvPr>
          <p:cNvSpPr txBox="1"/>
          <p:nvPr/>
        </p:nvSpPr>
        <p:spPr>
          <a:xfrm>
            <a:off x="7121922" y="5003840"/>
            <a:ext cx="16616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paramètres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B8EA24ED-21B3-F147-AD81-F093A959AD8A}"/>
              </a:ext>
            </a:extLst>
          </p:cNvPr>
          <p:cNvCxnSpPr>
            <a:cxnSpLocks/>
          </p:cNvCxnSpPr>
          <p:nvPr/>
        </p:nvCxnSpPr>
        <p:spPr>
          <a:xfrm flipV="1">
            <a:off x="7966019" y="3801097"/>
            <a:ext cx="6949" cy="5847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320716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pprentissage supervisé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F098FE1-D256-8A4A-8F50-F73048E96C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6" y="1839149"/>
            <a:ext cx="755742" cy="87507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691C021-6DDF-5245-B58F-2BDF4CCA3E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6" y="2714221"/>
            <a:ext cx="755742" cy="87507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EACFD7C-4674-9B49-9343-5607B083F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6" y="3589293"/>
            <a:ext cx="755742" cy="87507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2E88C0A-FAF0-DD41-9FFB-954B3EF9CD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6" y="4464365"/>
            <a:ext cx="755742" cy="875072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2EDAF44D-0882-EF43-B892-BB89B6C932B8}"/>
              </a:ext>
            </a:extLst>
          </p:cNvPr>
          <p:cNvSpPr txBox="1"/>
          <p:nvPr/>
        </p:nvSpPr>
        <p:spPr>
          <a:xfrm>
            <a:off x="1114322" y="1469817"/>
            <a:ext cx="13933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donné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8EEF01DA-C240-204C-A338-887B96BD8B02}"/>
              </a:ext>
            </a:extLst>
          </p:cNvPr>
          <p:cNvSpPr txBox="1"/>
          <p:nvPr/>
        </p:nvSpPr>
        <p:spPr>
          <a:xfrm>
            <a:off x="6632803" y="1514705"/>
            <a:ext cx="1969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Exemples de cibles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F929922F-EA43-0B45-8D75-B0B19B9B39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1913" t="19821" r="-1504" b="71924"/>
          <a:stretch/>
        </p:blipFill>
        <p:spPr>
          <a:xfrm>
            <a:off x="3315098" y="2697610"/>
            <a:ext cx="1136822" cy="1157471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AC80E237-A3D3-B64A-B956-A38F904B1F98}"/>
              </a:ext>
            </a:extLst>
          </p:cNvPr>
          <p:cNvSpPr txBox="1"/>
          <p:nvPr/>
        </p:nvSpPr>
        <p:spPr>
          <a:xfrm>
            <a:off x="3150662" y="1473895"/>
            <a:ext cx="1218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Un modèle</a:t>
            </a:r>
          </a:p>
        </p:txBody>
      </p: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F4D4BE6E-098E-044E-AAB6-2B947C4229E6}"/>
              </a:ext>
            </a:extLst>
          </p:cNvPr>
          <p:cNvGrpSpPr/>
          <p:nvPr/>
        </p:nvGrpSpPr>
        <p:grpSpPr>
          <a:xfrm>
            <a:off x="7178693" y="1950039"/>
            <a:ext cx="686107" cy="702343"/>
            <a:chOff x="8987094" y="1322173"/>
            <a:chExt cx="895158" cy="881890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050A4CBA-7992-144D-91DA-E42B470D4552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4AB57550-5791-6644-BE68-E9C57C8BE912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7CCD47A5-5C1D-5144-A37E-D7C220C993D3}"/>
                </a:ext>
              </a:extLst>
            </p:cNvPr>
            <p:cNvCxnSpPr>
              <a:stCxn id="23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738BC398-8824-DE4E-8F24-EA80E980B3D8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32CFD4FE-4860-BD4F-9D38-1CCD53BB747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>
              <a:extLst>
                <a:ext uri="{FF2B5EF4-FFF2-40B4-BE49-F238E27FC236}">
                  <a16:creationId xmlns:a16="http://schemas.microsoft.com/office/drawing/2014/main" id="{44BA0672-87B6-EC4A-A0C0-DAD8ED8FE0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69CA77D2-4945-5C46-91C7-06024F079277}"/>
              </a:ext>
            </a:extLst>
          </p:cNvPr>
          <p:cNvGrpSpPr/>
          <p:nvPr/>
        </p:nvGrpSpPr>
        <p:grpSpPr>
          <a:xfrm>
            <a:off x="7178691" y="2820967"/>
            <a:ext cx="686107" cy="702343"/>
            <a:chOff x="8987094" y="1322173"/>
            <a:chExt cx="895158" cy="881890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AAADC0FE-A4C0-0645-8988-A76EF01C8BD0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8710A636-2887-5343-A7BC-47921E1B5C87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35" name="Connecteur droit 34">
              <a:extLst>
                <a:ext uri="{FF2B5EF4-FFF2-40B4-BE49-F238E27FC236}">
                  <a16:creationId xmlns:a16="http://schemas.microsoft.com/office/drawing/2014/main" id="{417955DC-F0A1-9748-B803-BC00AEF2C213}"/>
                </a:ext>
              </a:extLst>
            </p:cNvPr>
            <p:cNvCxnSpPr>
              <a:stCxn id="33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eur droit 35">
              <a:extLst>
                <a:ext uri="{FF2B5EF4-FFF2-40B4-BE49-F238E27FC236}">
                  <a16:creationId xmlns:a16="http://schemas.microsoft.com/office/drawing/2014/main" id="{5E90F815-7935-184F-86D2-B2BEB10B425B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eur droit 36">
              <a:extLst>
                <a:ext uri="{FF2B5EF4-FFF2-40B4-BE49-F238E27FC236}">
                  <a16:creationId xmlns:a16="http://schemas.microsoft.com/office/drawing/2014/main" id="{A2FC10B7-4EF9-8C4A-9108-D32C094D72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37">
              <a:extLst>
                <a:ext uri="{FF2B5EF4-FFF2-40B4-BE49-F238E27FC236}">
                  <a16:creationId xmlns:a16="http://schemas.microsoft.com/office/drawing/2014/main" id="{5D2917CE-CC7F-F642-B603-FB863DD4B9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3EC60D26-3275-1945-AB0D-DB194B5588DC}"/>
              </a:ext>
            </a:extLst>
          </p:cNvPr>
          <p:cNvGrpSpPr/>
          <p:nvPr/>
        </p:nvGrpSpPr>
        <p:grpSpPr>
          <a:xfrm>
            <a:off x="7178691" y="3629670"/>
            <a:ext cx="686107" cy="702343"/>
            <a:chOff x="8987094" y="1322173"/>
            <a:chExt cx="895158" cy="881890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D2B9F0D3-C2D6-BE42-B4AF-8AE00F53BBF6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A73BA5F9-691F-8F41-A89B-7BAD488C3BB1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42" name="Connecteur droit 41">
              <a:extLst>
                <a:ext uri="{FF2B5EF4-FFF2-40B4-BE49-F238E27FC236}">
                  <a16:creationId xmlns:a16="http://schemas.microsoft.com/office/drawing/2014/main" id="{C6C96F09-DB90-0942-8AA8-8DFDDCA1C222}"/>
                </a:ext>
              </a:extLst>
            </p:cNvPr>
            <p:cNvCxnSpPr>
              <a:stCxn id="40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eur droit 42">
              <a:extLst>
                <a:ext uri="{FF2B5EF4-FFF2-40B4-BE49-F238E27FC236}">
                  <a16:creationId xmlns:a16="http://schemas.microsoft.com/office/drawing/2014/main" id="{637064D1-8078-1E4B-AC6B-6EA7B5EACF58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B7419E69-1EBD-2144-ABE6-D8F7AD8D914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eur droit 44">
              <a:extLst>
                <a:ext uri="{FF2B5EF4-FFF2-40B4-BE49-F238E27FC236}">
                  <a16:creationId xmlns:a16="http://schemas.microsoft.com/office/drawing/2014/main" id="{68C2B2FF-35DB-8A47-A394-363F9D45ECC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FB50D23A-7DF6-D844-B3F1-19D5D1A6774E}"/>
              </a:ext>
            </a:extLst>
          </p:cNvPr>
          <p:cNvGrpSpPr/>
          <p:nvPr/>
        </p:nvGrpSpPr>
        <p:grpSpPr>
          <a:xfrm>
            <a:off x="7178691" y="4519369"/>
            <a:ext cx="686107" cy="702343"/>
            <a:chOff x="8987094" y="1322173"/>
            <a:chExt cx="895158" cy="881890"/>
          </a:xfrm>
        </p:grpSpPr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51653EB9-1AE1-784B-BF39-6DD38205D330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40BCD56B-DD02-9740-9E6F-51E0E30C2D47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49" name="Connecteur droit 48">
              <a:extLst>
                <a:ext uri="{FF2B5EF4-FFF2-40B4-BE49-F238E27FC236}">
                  <a16:creationId xmlns:a16="http://schemas.microsoft.com/office/drawing/2014/main" id="{458DFBBA-B4A9-6F4B-B274-F22D847A5B31}"/>
                </a:ext>
              </a:extLst>
            </p:cNvPr>
            <p:cNvCxnSpPr>
              <a:stCxn id="47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eur droit 49">
              <a:extLst>
                <a:ext uri="{FF2B5EF4-FFF2-40B4-BE49-F238E27FC236}">
                  <a16:creationId xmlns:a16="http://schemas.microsoft.com/office/drawing/2014/main" id="{84A00243-48F5-2945-8822-A7A99F08C77C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eur droit 50">
              <a:extLst>
                <a:ext uri="{FF2B5EF4-FFF2-40B4-BE49-F238E27FC236}">
                  <a16:creationId xmlns:a16="http://schemas.microsoft.com/office/drawing/2014/main" id="{46A47B24-9499-6E4A-97BC-F6134C7DBE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eur droit 51">
              <a:extLst>
                <a:ext uri="{FF2B5EF4-FFF2-40B4-BE49-F238E27FC236}">
                  <a16:creationId xmlns:a16="http://schemas.microsoft.com/office/drawing/2014/main" id="{E1378A83-DBA5-FF4C-9198-67CD2DC7A9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e 52">
            <a:extLst>
              <a:ext uri="{FF2B5EF4-FFF2-40B4-BE49-F238E27FC236}">
                <a16:creationId xmlns:a16="http://schemas.microsoft.com/office/drawing/2014/main" id="{2157F51E-F4E4-A841-8FA1-D3EF4DC71F9B}"/>
              </a:ext>
            </a:extLst>
          </p:cNvPr>
          <p:cNvGrpSpPr/>
          <p:nvPr/>
        </p:nvGrpSpPr>
        <p:grpSpPr>
          <a:xfrm>
            <a:off x="4969366" y="1900343"/>
            <a:ext cx="686107" cy="702343"/>
            <a:chOff x="8987094" y="1322173"/>
            <a:chExt cx="895158" cy="881890"/>
          </a:xfrm>
        </p:grpSpPr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6121F0C2-CAA1-9E42-94B7-4CA6484F467D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041866B9-70D1-8C41-8192-0BD4B53DDD8D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56" name="Connecteur droit 55">
              <a:extLst>
                <a:ext uri="{FF2B5EF4-FFF2-40B4-BE49-F238E27FC236}">
                  <a16:creationId xmlns:a16="http://schemas.microsoft.com/office/drawing/2014/main" id="{EC604E8A-FA08-A945-8DA1-D218740C3A3B}"/>
                </a:ext>
              </a:extLst>
            </p:cNvPr>
            <p:cNvCxnSpPr>
              <a:stCxn id="54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eur droit 56">
              <a:extLst>
                <a:ext uri="{FF2B5EF4-FFF2-40B4-BE49-F238E27FC236}">
                  <a16:creationId xmlns:a16="http://schemas.microsoft.com/office/drawing/2014/main" id="{92C7E50A-CA99-9D46-8BD1-3FB620D24BDD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eur droit 57">
              <a:extLst>
                <a:ext uri="{FF2B5EF4-FFF2-40B4-BE49-F238E27FC236}">
                  <a16:creationId xmlns:a16="http://schemas.microsoft.com/office/drawing/2014/main" id="{349FF2B4-0ECF-2D49-B43C-F2DF5AB6DB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eur droit 58">
              <a:extLst>
                <a:ext uri="{FF2B5EF4-FFF2-40B4-BE49-F238E27FC236}">
                  <a16:creationId xmlns:a16="http://schemas.microsoft.com/office/drawing/2014/main" id="{25BEDC56-C516-3A4D-B289-CB052430DF6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Connecteur droit avec flèche 60">
            <a:extLst>
              <a:ext uri="{FF2B5EF4-FFF2-40B4-BE49-F238E27FC236}">
                <a16:creationId xmlns:a16="http://schemas.microsoft.com/office/drawing/2014/main" id="{66424EC5-C3B0-9B45-A49F-58F2E3BF697A}"/>
              </a:ext>
            </a:extLst>
          </p:cNvPr>
          <p:cNvCxnSpPr>
            <a:cxnSpLocks/>
          </p:cNvCxnSpPr>
          <p:nvPr/>
        </p:nvCxnSpPr>
        <p:spPr>
          <a:xfrm flipV="1">
            <a:off x="2405199" y="3294516"/>
            <a:ext cx="822572" cy="89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id="{2135FB97-F712-CC4C-8FA2-8451309DEB2A}"/>
              </a:ext>
            </a:extLst>
          </p:cNvPr>
          <p:cNvCxnSpPr/>
          <p:nvPr/>
        </p:nvCxnSpPr>
        <p:spPr>
          <a:xfrm flipV="1">
            <a:off x="4345278" y="3286165"/>
            <a:ext cx="624428" cy="41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ZoneTexte 63">
            <a:extLst>
              <a:ext uri="{FF2B5EF4-FFF2-40B4-BE49-F238E27FC236}">
                <a16:creationId xmlns:a16="http://schemas.microsoft.com/office/drawing/2014/main" id="{1ECA9A1D-4689-6643-9194-107504500EE9}"/>
              </a:ext>
            </a:extLst>
          </p:cNvPr>
          <p:cNvSpPr txBox="1"/>
          <p:nvPr/>
        </p:nvSpPr>
        <p:spPr>
          <a:xfrm>
            <a:off x="4635668" y="1473895"/>
            <a:ext cx="15906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Les prédictions</a:t>
            </a:r>
          </a:p>
        </p:txBody>
      </p:sp>
      <p:pic>
        <p:nvPicPr>
          <p:cNvPr id="65" name="Image 64">
            <a:extLst>
              <a:ext uri="{FF2B5EF4-FFF2-40B4-BE49-F238E27FC236}">
                <a16:creationId xmlns:a16="http://schemas.microsoft.com/office/drawing/2014/main" id="{89813A7E-0886-7745-8DA0-8924389991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313" t="55121" r="29495" b="39257"/>
          <a:stretch/>
        </p:blipFill>
        <p:spPr>
          <a:xfrm>
            <a:off x="3356420" y="4381046"/>
            <a:ext cx="934785" cy="761962"/>
          </a:xfrm>
          <a:prstGeom prst="rect">
            <a:avLst/>
          </a:prstGeom>
        </p:spPr>
      </p:pic>
      <p:sp>
        <p:nvSpPr>
          <p:cNvPr id="66" name="ZoneTexte 65">
            <a:extLst>
              <a:ext uri="{FF2B5EF4-FFF2-40B4-BE49-F238E27FC236}">
                <a16:creationId xmlns:a16="http://schemas.microsoft.com/office/drawing/2014/main" id="{B98848F0-5DB8-BA45-9ABE-96D30ADDB4D2}"/>
              </a:ext>
            </a:extLst>
          </p:cNvPr>
          <p:cNvSpPr txBox="1"/>
          <p:nvPr/>
        </p:nvSpPr>
        <p:spPr>
          <a:xfrm>
            <a:off x="2992975" y="4999032"/>
            <a:ext cx="16616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paramètres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B8EA24ED-21B3-F147-AD81-F093A959AD8A}"/>
              </a:ext>
            </a:extLst>
          </p:cNvPr>
          <p:cNvCxnSpPr>
            <a:cxnSpLocks/>
          </p:cNvCxnSpPr>
          <p:nvPr/>
        </p:nvCxnSpPr>
        <p:spPr>
          <a:xfrm flipV="1">
            <a:off x="3837072" y="3796289"/>
            <a:ext cx="6949" cy="5847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e 59">
            <a:extLst>
              <a:ext uri="{FF2B5EF4-FFF2-40B4-BE49-F238E27FC236}">
                <a16:creationId xmlns:a16="http://schemas.microsoft.com/office/drawing/2014/main" id="{594011E1-63B1-D54E-8DC7-2049EE4B9F58}"/>
              </a:ext>
            </a:extLst>
          </p:cNvPr>
          <p:cNvGrpSpPr/>
          <p:nvPr/>
        </p:nvGrpSpPr>
        <p:grpSpPr>
          <a:xfrm>
            <a:off x="4969365" y="2811116"/>
            <a:ext cx="686107" cy="702343"/>
            <a:chOff x="8987094" y="1322173"/>
            <a:chExt cx="895158" cy="881890"/>
          </a:xfrm>
        </p:grpSpPr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45CF0602-E367-4E42-9D79-E83BD9CD1CA5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1818FA6D-F84F-E046-9D69-FCC51B6FAB3E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70" name="Connecteur droit 69">
              <a:extLst>
                <a:ext uri="{FF2B5EF4-FFF2-40B4-BE49-F238E27FC236}">
                  <a16:creationId xmlns:a16="http://schemas.microsoft.com/office/drawing/2014/main" id="{C4D84E7A-F5C5-C942-8044-A76D605F07C5}"/>
                </a:ext>
              </a:extLst>
            </p:cNvPr>
            <p:cNvCxnSpPr>
              <a:stCxn id="68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necteur droit 70">
              <a:extLst>
                <a:ext uri="{FF2B5EF4-FFF2-40B4-BE49-F238E27FC236}">
                  <a16:creationId xmlns:a16="http://schemas.microsoft.com/office/drawing/2014/main" id="{787F9B9E-E089-8648-A57C-CC715BD4C245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necteur droit 71">
              <a:extLst>
                <a:ext uri="{FF2B5EF4-FFF2-40B4-BE49-F238E27FC236}">
                  <a16:creationId xmlns:a16="http://schemas.microsoft.com/office/drawing/2014/main" id="{ED66DACB-58B4-CD4B-AD03-4541C9B13BB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necteur droit 72">
              <a:extLst>
                <a:ext uri="{FF2B5EF4-FFF2-40B4-BE49-F238E27FC236}">
                  <a16:creationId xmlns:a16="http://schemas.microsoft.com/office/drawing/2014/main" id="{C67D73E7-2EB8-CC42-B3FB-048D34BE24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oupe 73">
            <a:extLst>
              <a:ext uri="{FF2B5EF4-FFF2-40B4-BE49-F238E27FC236}">
                <a16:creationId xmlns:a16="http://schemas.microsoft.com/office/drawing/2014/main" id="{E8362557-E8E0-5245-93BF-12A6D296B9F6}"/>
              </a:ext>
            </a:extLst>
          </p:cNvPr>
          <p:cNvGrpSpPr/>
          <p:nvPr/>
        </p:nvGrpSpPr>
        <p:grpSpPr>
          <a:xfrm>
            <a:off x="4969039" y="3629670"/>
            <a:ext cx="686107" cy="702343"/>
            <a:chOff x="8987094" y="1322173"/>
            <a:chExt cx="895158" cy="881890"/>
          </a:xfrm>
        </p:grpSpPr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A304F549-C826-5C49-A0C2-FA11E33390B6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6" name="Ellipse 75">
              <a:extLst>
                <a:ext uri="{FF2B5EF4-FFF2-40B4-BE49-F238E27FC236}">
                  <a16:creationId xmlns:a16="http://schemas.microsoft.com/office/drawing/2014/main" id="{C703C3D9-3F0D-9B4D-A089-532C86E9392B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77" name="Connecteur droit 76">
              <a:extLst>
                <a:ext uri="{FF2B5EF4-FFF2-40B4-BE49-F238E27FC236}">
                  <a16:creationId xmlns:a16="http://schemas.microsoft.com/office/drawing/2014/main" id="{16D08195-36F7-EB4D-8886-23D7567ED815}"/>
                </a:ext>
              </a:extLst>
            </p:cNvPr>
            <p:cNvCxnSpPr>
              <a:stCxn id="75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eur droit 77">
              <a:extLst>
                <a:ext uri="{FF2B5EF4-FFF2-40B4-BE49-F238E27FC236}">
                  <a16:creationId xmlns:a16="http://schemas.microsoft.com/office/drawing/2014/main" id="{142BAE68-2674-E844-A398-C80D62F99EB9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eur droit 78">
              <a:extLst>
                <a:ext uri="{FF2B5EF4-FFF2-40B4-BE49-F238E27FC236}">
                  <a16:creationId xmlns:a16="http://schemas.microsoft.com/office/drawing/2014/main" id="{93D417DF-4D19-8D4E-B362-95E29D5A39C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eur droit 79">
              <a:extLst>
                <a:ext uri="{FF2B5EF4-FFF2-40B4-BE49-F238E27FC236}">
                  <a16:creationId xmlns:a16="http://schemas.microsoft.com/office/drawing/2014/main" id="{3FD7D54F-914C-6740-8C33-76E26E32BE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e 80">
            <a:extLst>
              <a:ext uri="{FF2B5EF4-FFF2-40B4-BE49-F238E27FC236}">
                <a16:creationId xmlns:a16="http://schemas.microsoft.com/office/drawing/2014/main" id="{5149FBAA-244E-BA47-A62A-C35FDB33E4F5}"/>
              </a:ext>
            </a:extLst>
          </p:cNvPr>
          <p:cNvGrpSpPr/>
          <p:nvPr/>
        </p:nvGrpSpPr>
        <p:grpSpPr>
          <a:xfrm>
            <a:off x="4969038" y="4529846"/>
            <a:ext cx="686107" cy="702343"/>
            <a:chOff x="8987094" y="1322173"/>
            <a:chExt cx="895158" cy="881890"/>
          </a:xfrm>
        </p:grpSpPr>
        <p:sp>
          <p:nvSpPr>
            <p:cNvPr id="82" name="Ellipse 81">
              <a:extLst>
                <a:ext uri="{FF2B5EF4-FFF2-40B4-BE49-F238E27FC236}">
                  <a16:creationId xmlns:a16="http://schemas.microsoft.com/office/drawing/2014/main" id="{16F7A48C-EA4A-DE48-A91C-B17F4F1B0B8D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73670061-BE3D-6A47-A110-A52D73B24A22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84" name="Connecteur droit 83">
              <a:extLst>
                <a:ext uri="{FF2B5EF4-FFF2-40B4-BE49-F238E27FC236}">
                  <a16:creationId xmlns:a16="http://schemas.microsoft.com/office/drawing/2014/main" id="{E1BF0BCC-FF08-584C-B1D5-F76C22A16322}"/>
                </a:ext>
              </a:extLst>
            </p:cNvPr>
            <p:cNvCxnSpPr>
              <a:stCxn id="82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77FBD3BF-11F9-5746-96B4-77162E924514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Connecteur droit 85">
              <a:extLst>
                <a:ext uri="{FF2B5EF4-FFF2-40B4-BE49-F238E27FC236}">
                  <a16:creationId xmlns:a16="http://schemas.microsoft.com/office/drawing/2014/main" id="{5B895976-E285-FD48-8ECB-1D730683362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Connecteur droit 86">
              <a:extLst>
                <a:ext uri="{FF2B5EF4-FFF2-40B4-BE49-F238E27FC236}">
                  <a16:creationId xmlns:a16="http://schemas.microsoft.com/office/drawing/2014/main" id="{F377434A-BDDC-B64B-9EB3-7761A84B6D8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8" name="Connecteur droit avec flèche 87">
            <a:extLst>
              <a:ext uri="{FF2B5EF4-FFF2-40B4-BE49-F238E27FC236}">
                <a16:creationId xmlns:a16="http://schemas.microsoft.com/office/drawing/2014/main" id="{3F51A201-4B19-A64E-A586-59C119A3C96C}"/>
              </a:ext>
            </a:extLst>
          </p:cNvPr>
          <p:cNvCxnSpPr>
            <a:cxnSpLocks/>
          </p:cNvCxnSpPr>
          <p:nvPr/>
        </p:nvCxnSpPr>
        <p:spPr>
          <a:xfrm flipV="1">
            <a:off x="2482120" y="3454666"/>
            <a:ext cx="745651" cy="623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avec flèche 88">
            <a:extLst>
              <a:ext uri="{FF2B5EF4-FFF2-40B4-BE49-F238E27FC236}">
                <a16:creationId xmlns:a16="http://schemas.microsoft.com/office/drawing/2014/main" id="{70607F7D-2221-B946-BB47-866CD5D65DD2}"/>
              </a:ext>
            </a:extLst>
          </p:cNvPr>
          <p:cNvCxnSpPr>
            <a:cxnSpLocks/>
          </p:cNvCxnSpPr>
          <p:nvPr/>
        </p:nvCxnSpPr>
        <p:spPr>
          <a:xfrm flipV="1">
            <a:off x="2324146" y="3605781"/>
            <a:ext cx="947182" cy="1393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eur droit avec flèche 89">
            <a:extLst>
              <a:ext uri="{FF2B5EF4-FFF2-40B4-BE49-F238E27FC236}">
                <a16:creationId xmlns:a16="http://schemas.microsoft.com/office/drawing/2014/main" id="{EA1CB215-E117-6E46-8B10-FB9FD44D0499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2324146" y="2364072"/>
            <a:ext cx="990952" cy="9122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cteur droit avec flèche 90">
            <a:extLst>
              <a:ext uri="{FF2B5EF4-FFF2-40B4-BE49-F238E27FC236}">
                <a16:creationId xmlns:a16="http://schemas.microsoft.com/office/drawing/2014/main" id="{5D12192D-9CCF-994E-8FC3-9B49337B782F}"/>
              </a:ext>
            </a:extLst>
          </p:cNvPr>
          <p:cNvCxnSpPr>
            <a:cxnSpLocks/>
          </p:cNvCxnSpPr>
          <p:nvPr/>
        </p:nvCxnSpPr>
        <p:spPr>
          <a:xfrm flipV="1">
            <a:off x="4303437" y="2274524"/>
            <a:ext cx="745651" cy="623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C1DCA7A6-9DBF-5A42-8B1B-91A8DC69127E}"/>
              </a:ext>
            </a:extLst>
          </p:cNvPr>
          <p:cNvCxnSpPr>
            <a:cxnSpLocks/>
          </p:cNvCxnSpPr>
          <p:nvPr/>
        </p:nvCxnSpPr>
        <p:spPr>
          <a:xfrm>
            <a:off x="4247697" y="3839913"/>
            <a:ext cx="776417" cy="8178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eur droit avec flèche 92">
            <a:extLst>
              <a:ext uri="{FF2B5EF4-FFF2-40B4-BE49-F238E27FC236}">
                <a16:creationId xmlns:a16="http://schemas.microsoft.com/office/drawing/2014/main" id="{6540BD50-365C-E247-B2D1-DF9554F96477}"/>
              </a:ext>
            </a:extLst>
          </p:cNvPr>
          <p:cNvCxnSpPr>
            <a:cxnSpLocks/>
          </p:cNvCxnSpPr>
          <p:nvPr/>
        </p:nvCxnSpPr>
        <p:spPr>
          <a:xfrm>
            <a:off x="4349802" y="3455401"/>
            <a:ext cx="582770" cy="3920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36713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1390" y="594745"/>
            <a:ext cx="11329219" cy="875072"/>
          </a:xfrm>
        </p:spPr>
        <p:txBody>
          <a:bodyPr/>
          <a:lstStyle/>
          <a:p>
            <a:r>
              <a:rPr lang="fr-FR" b="0" dirty="0"/>
              <a:t>L’apprentissage supervisé</a:t>
            </a:r>
            <a:endParaRPr lang="en-US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1617325" y="6392863"/>
            <a:ext cx="574675" cy="31273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88A73-0BD6-4EFD-B0B8-D558BDCDC372}" type="slidenum">
              <a:rPr kumimoji="0" lang="en-US" sz="8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iLo 55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Lo 55 Roman"/>
              <a:ea typeface="+mn-ea"/>
              <a:cs typeface="+mn-cs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F098FE1-D256-8A4A-8F50-F73048E96C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1839149"/>
            <a:ext cx="755742" cy="87507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691C021-6DDF-5245-B58F-2BDF4CCA3E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2714221"/>
            <a:ext cx="755742" cy="87507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EACFD7C-4674-9B49-9343-5607B083F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3589293"/>
            <a:ext cx="755742" cy="87507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2E88C0A-FAF0-DD41-9FFB-954B3EF9CD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011" t="35315" r="17890" b="56757"/>
          <a:stretch/>
        </p:blipFill>
        <p:spPr>
          <a:xfrm>
            <a:off x="1433115" y="4464365"/>
            <a:ext cx="755742" cy="875072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2EDAF44D-0882-EF43-B892-BB89B6C932B8}"/>
              </a:ext>
            </a:extLst>
          </p:cNvPr>
          <p:cNvSpPr txBox="1"/>
          <p:nvPr/>
        </p:nvSpPr>
        <p:spPr>
          <a:xfrm>
            <a:off x="1114321" y="1469817"/>
            <a:ext cx="13933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donné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8EEF01DA-C240-204C-A338-887B96BD8B02}"/>
              </a:ext>
            </a:extLst>
          </p:cNvPr>
          <p:cNvSpPr txBox="1"/>
          <p:nvPr/>
        </p:nvSpPr>
        <p:spPr>
          <a:xfrm>
            <a:off x="6632802" y="1514705"/>
            <a:ext cx="1969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Exemples de cibles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F929922F-EA43-0B45-8D75-B0B19B9B39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1913" t="19821" r="-1504" b="71924"/>
          <a:stretch/>
        </p:blipFill>
        <p:spPr>
          <a:xfrm>
            <a:off x="3315097" y="2697610"/>
            <a:ext cx="1136822" cy="1157471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AC80E237-A3D3-B64A-B956-A38F904B1F98}"/>
              </a:ext>
            </a:extLst>
          </p:cNvPr>
          <p:cNvSpPr txBox="1"/>
          <p:nvPr/>
        </p:nvSpPr>
        <p:spPr>
          <a:xfrm>
            <a:off x="3150661" y="1473895"/>
            <a:ext cx="1218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Un modèle</a:t>
            </a:r>
          </a:p>
        </p:txBody>
      </p:sp>
      <p:cxnSp>
        <p:nvCxnSpPr>
          <p:cNvPr id="61" name="Connecteur droit avec flèche 60">
            <a:extLst>
              <a:ext uri="{FF2B5EF4-FFF2-40B4-BE49-F238E27FC236}">
                <a16:creationId xmlns:a16="http://schemas.microsoft.com/office/drawing/2014/main" id="{66424EC5-C3B0-9B45-A49F-58F2E3BF697A}"/>
              </a:ext>
            </a:extLst>
          </p:cNvPr>
          <p:cNvCxnSpPr>
            <a:cxnSpLocks/>
          </p:cNvCxnSpPr>
          <p:nvPr/>
        </p:nvCxnSpPr>
        <p:spPr>
          <a:xfrm flipV="1">
            <a:off x="2405198" y="3294516"/>
            <a:ext cx="822572" cy="89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id="{2135FB97-F712-CC4C-8FA2-8451309DEB2A}"/>
              </a:ext>
            </a:extLst>
          </p:cNvPr>
          <p:cNvCxnSpPr/>
          <p:nvPr/>
        </p:nvCxnSpPr>
        <p:spPr>
          <a:xfrm flipV="1">
            <a:off x="4345277" y="3286165"/>
            <a:ext cx="624428" cy="41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ZoneTexte 63">
            <a:extLst>
              <a:ext uri="{FF2B5EF4-FFF2-40B4-BE49-F238E27FC236}">
                <a16:creationId xmlns:a16="http://schemas.microsoft.com/office/drawing/2014/main" id="{1ECA9A1D-4689-6643-9194-107504500EE9}"/>
              </a:ext>
            </a:extLst>
          </p:cNvPr>
          <p:cNvSpPr txBox="1"/>
          <p:nvPr/>
        </p:nvSpPr>
        <p:spPr>
          <a:xfrm>
            <a:off x="4635667" y="1473895"/>
            <a:ext cx="15906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Les prédictions</a:t>
            </a:r>
          </a:p>
        </p:txBody>
      </p:sp>
      <p:pic>
        <p:nvPicPr>
          <p:cNvPr id="65" name="Image 64">
            <a:extLst>
              <a:ext uri="{FF2B5EF4-FFF2-40B4-BE49-F238E27FC236}">
                <a16:creationId xmlns:a16="http://schemas.microsoft.com/office/drawing/2014/main" id="{89813A7E-0886-7745-8DA0-8924389991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313" t="55121" r="29495" b="39257"/>
          <a:stretch/>
        </p:blipFill>
        <p:spPr>
          <a:xfrm>
            <a:off x="3356419" y="4381046"/>
            <a:ext cx="934785" cy="761962"/>
          </a:xfrm>
          <a:prstGeom prst="rect">
            <a:avLst/>
          </a:prstGeom>
        </p:spPr>
      </p:pic>
      <p:sp>
        <p:nvSpPr>
          <p:cNvPr id="66" name="ZoneTexte 65">
            <a:extLst>
              <a:ext uri="{FF2B5EF4-FFF2-40B4-BE49-F238E27FC236}">
                <a16:creationId xmlns:a16="http://schemas.microsoft.com/office/drawing/2014/main" id="{B98848F0-5DB8-BA45-9ABE-96D30ADDB4D2}"/>
              </a:ext>
            </a:extLst>
          </p:cNvPr>
          <p:cNvSpPr txBox="1"/>
          <p:nvPr/>
        </p:nvSpPr>
        <p:spPr>
          <a:xfrm>
            <a:off x="2992974" y="4999032"/>
            <a:ext cx="16616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Des paramètres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B8EA24ED-21B3-F147-AD81-F093A959AD8A}"/>
              </a:ext>
            </a:extLst>
          </p:cNvPr>
          <p:cNvCxnSpPr>
            <a:cxnSpLocks/>
          </p:cNvCxnSpPr>
          <p:nvPr/>
        </p:nvCxnSpPr>
        <p:spPr>
          <a:xfrm flipV="1">
            <a:off x="3837071" y="3796289"/>
            <a:ext cx="6949" cy="5847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eur droit avec flèche 87">
            <a:extLst>
              <a:ext uri="{FF2B5EF4-FFF2-40B4-BE49-F238E27FC236}">
                <a16:creationId xmlns:a16="http://schemas.microsoft.com/office/drawing/2014/main" id="{3F51A201-4B19-A64E-A586-59C119A3C96C}"/>
              </a:ext>
            </a:extLst>
          </p:cNvPr>
          <p:cNvCxnSpPr>
            <a:cxnSpLocks/>
          </p:cNvCxnSpPr>
          <p:nvPr/>
        </p:nvCxnSpPr>
        <p:spPr>
          <a:xfrm flipV="1">
            <a:off x="2482119" y="3454666"/>
            <a:ext cx="745651" cy="623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avec flèche 88">
            <a:extLst>
              <a:ext uri="{FF2B5EF4-FFF2-40B4-BE49-F238E27FC236}">
                <a16:creationId xmlns:a16="http://schemas.microsoft.com/office/drawing/2014/main" id="{70607F7D-2221-B946-BB47-866CD5D65DD2}"/>
              </a:ext>
            </a:extLst>
          </p:cNvPr>
          <p:cNvCxnSpPr>
            <a:cxnSpLocks/>
          </p:cNvCxnSpPr>
          <p:nvPr/>
        </p:nvCxnSpPr>
        <p:spPr>
          <a:xfrm flipV="1">
            <a:off x="2324145" y="3605781"/>
            <a:ext cx="947182" cy="1393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eur droit avec flèche 89">
            <a:extLst>
              <a:ext uri="{FF2B5EF4-FFF2-40B4-BE49-F238E27FC236}">
                <a16:creationId xmlns:a16="http://schemas.microsoft.com/office/drawing/2014/main" id="{EA1CB215-E117-6E46-8B10-FB9FD44D0499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2324145" y="2364072"/>
            <a:ext cx="990952" cy="9122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cteur droit avec flèche 90">
            <a:extLst>
              <a:ext uri="{FF2B5EF4-FFF2-40B4-BE49-F238E27FC236}">
                <a16:creationId xmlns:a16="http://schemas.microsoft.com/office/drawing/2014/main" id="{5D12192D-9CCF-994E-8FC3-9B49337B782F}"/>
              </a:ext>
            </a:extLst>
          </p:cNvPr>
          <p:cNvCxnSpPr>
            <a:cxnSpLocks/>
          </p:cNvCxnSpPr>
          <p:nvPr/>
        </p:nvCxnSpPr>
        <p:spPr>
          <a:xfrm flipV="1">
            <a:off x="4303436" y="2274524"/>
            <a:ext cx="745651" cy="623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C1DCA7A6-9DBF-5A42-8B1B-91A8DC69127E}"/>
              </a:ext>
            </a:extLst>
          </p:cNvPr>
          <p:cNvCxnSpPr>
            <a:cxnSpLocks/>
          </p:cNvCxnSpPr>
          <p:nvPr/>
        </p:nvCxnSpPr>
        <p:spPr>
          <a:xfrm>
            <a:off x="4247696" y="3839913"/>
            <a:ext cx="776417" cy="8178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eur droit avec flèche 92">
            <a:extLst>
              <a:ext uri="{FF2B5EF4-FFF2-40B4-BE49-F238E27FC236}">
                <a16:creationId xmlns:a16="http://schemas.microsoft.com/office/drawing/2014/main" id="{6540BD50-365C-E247-B2D1-DF9554F96477}"/>
              </a:ext>
            </a:extLst>
          </p:cNvPr>
          <p:cNvCxnSpPr>
            <a:cxnSpLocks/>
          </p:cNvCxnSpPr>
          <p:nvPr/>
        </p:nvCxnSpPr>
        <p:spPr>
          <a:xfrm>
            <a:off x="4349801" y="3455401"/>
            <a:ext cx="582770" cy="3920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Accolade fermante 2">
            <a:extLst>
              <a:ext uri="{FF2B5EF4-FFF2-40B4-BE49-F238E27FC236}">
                <a16:creationId xmlns:a16="http://schemas.microsoft.com/office/drawing/2014/main" id="{9A5B3A2B-2C49-364C-AAB5-554C795795D3}"/>
              </a:ext>
            </a:extLst>
          </p:cNvPr>
          <p:cNvSpPr/>
          <p:nvPr/>
        </p:nvSpPr>
        <p:spPr>
          <a:xfrm>
            <a:off x="8368747" y="1469817"/>
            <a:ext cx="675861" cy="4199121"/>
          </a:xfrm>
          <a:prstGeom prst="righ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ln w="38100">
                <a:solidFill>
                  <a:schemeClr val="tx1"/>
                </a:solidFill>
              </a:ln>
            </a:endParaRPr>
          </a:p>
        </p:txBody>
      </p:sp>
      <p:sp>
        <p:nvSpPr>
          <p:cNvPr id="94" name="ZoneTexte 93">
            <a:extLst>
              <a:ext uri="{FF2B5EF4-FFF2-40B4-BE49-F238E27FC236}">
                <a16:creationId xmlns:a16="http://schemas.microsoft.com/office/drawing/2014/main" id="{9C94A422-7E4D-8040-B35F-5C1ADDA66A65}"/>
              </a:ext>
            </a:extLst>
          </p:cNvPr>
          <p:cNvSpPr txBox="1"/>
          <p:nvPr/>
        </p:nvSpPr>
        <p:spPr>
          <a:xfrm>
            <a:off x="9114831" y="3237311"/>
            <a:ext cx="16775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lgorithme</a:t>
            </a:r>
          </a:p>
          <a:p>
            <a:r>
              <a:rPr lang="fr-FR" dirty="0"/>
              <a:t>d’apprentissage</a:t>
            </a:r>
          </a:p>
        </p:txBody>
      </p:sp>
      <p:pic>
        <p:nvPicPr>
          <p:cNvPr id="25" name="Graphique 24" descr="Engrenages">
            <a:extLst>
              <a:ext uri="{FF2B5EF4-FFF2-40B4-BE49-F238E27FC236}">
                <a16:creationId xmlns:a16="http://schemas.microsoft.com/office/drawing/2014/main" id="{69B82BBF-54B5-A44C-AF1B-FF6F147A2E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11575" y="3883642"/>
            <a:ext cx="914400" cy="914400"/>
          </a:xfrm>
          <a:prstGeom prst="rect">
            <a:avLst/>
          </a:prstGeom>
        </p:spPr>
      </p:pic>
      <p:grpSp>
        <p:nvGrpSpPr>
          <p:cNvPr id="95" name="Groupe 94">
            <a:extLst>
              <a:ext uri="{FF2B5EF4-FFF2-40B4-BE49-F238E27FC236}">
                <a16:creationId xmlns:a16="http://schemas.microsoft.com/office/drawing/2014/main" id="{7E43C422-98FC-0642-80EE-3E394DE5115D}"/>
              </a:ext>
            </a:extLst>
          </p:cNvPr>
          <p:cNvGrpSpPr/>
          <p:nvPr/>
        </p:nvGrpSpPr>
        <p:grpSpPr>
          <a:xfrm>
            <a:off x="7178692" y="1950039"/>
            <a:ext cx="686107" cy="702343"/>
            <a:chOff x="8987094" y="1322173"/>
            <a:chExt cx="895158" cy="881890"/>
          </a:xfrm>
        </p:grpSpPr>
        <p:sp>
          <p:nvSpPr>
            <p:cNvPr id="96" name="Ellipse 95">
              <a:extLst>
                <a:ext uri="{FF2B5EF4-FFF2-40B4-BE49-F238E27FC236}">
                  <a16:creationId xmlns:a16="http://schemas.microsoft.com/office/drawing/2014/main" id="{2438FF70-B0F3-C74F-B8FF-AE2FE5474CC9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7" name="Ellipse 96">
              <a:extLst>
                <a:ext uri="{FF2B5EF4-FFF2-40B4-BE49-F238E27FC236}">
                  <a16:creationId xmlns:a16="http://schemas.microsoft.com/office/drawing/2014/main" id="{7A9D3014-80C7-464F-A7C2-149F526ABDA4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98" name="Connecteur droit 97">
              <a:extLst>
                <a:ext uri="{FF2B5EF4-FFF2-40B4-BE49-F238E27FC236}">
                  <a16:creationId xmlns:a16="http://schemas.microsoft.com/office/drawing/2014/main" id="{B088782A-E960-C149-8D16-AFD1EFDB2EB7}"/>
                </a:ext>
              </a:extLst>
            </p:cNvPr>
            <p:cNvCxnSpPr>
              <a:stCxn id="96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Connecteur droit 98">
              <a:extLst>
                <a:ext uri="{FF2B5EF4-FFF2-40B4-BE49-F238E27FC236}">
                  <a16:creationId xmlns:a16="http://schemas.microsoft.com/office/drawing/2014/main" id="{10A63FD9-CCA4-AD42-9621-5546242913F0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Connecteur droit 99">
              <a:extLst>
                <a:ext uri="{FF2B5EF4-FFF2-40B4-BE49-F238E27FC236}">
                  <a16:creationId xmlns:a16="http://schemas.microsoft.com/office/drawing/2014/main" id="{A2357153-CDDC-2140-BA7A-0A11C4CFCE5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Connecteur droit 100">
              <a:extLst>
                <a:ext uri="{FF2B5EF4-FFF2-40B4-BE49-F238E27FC236}">
                  <a16:creationId xmlns:a16="http://schemas.microsoft.com/office/drawing/2014/main" id="{C7CB0E81-576A-0248-9CD4-D5226FF3F5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e 101">
            <a:extLst>
              <a:ext uri="{FF2B5EF4-FFF2-40B4-BE49-F238E27FC236}">
                <a16:creationId xmlns:a16="http://schemas.microsoft.com/office/drawing/2014/main" id="{46C89B8A-10DE-E545-A2AA-0ECA92BDC029}"/>
              </a:ext>
            </a:extLst>
          </p:cNvPr>
          <p:cNvGrpSpPr/>
          <p:nvPr/>
        </p:nvGrpSpPr>
        <p:grpSpPr>
          <a:xfrm>
            <a:off x="7178690" y="2820967"/>
            <a:ext cx="686107" cy="702343"/>
            <a:chOff x="8987094" y="1322173"/>
            <a:chExt cx="895158" cy="881890"/>
          </a:xfrm>
        </p:grpSpPr>
        <p:sp>
          <p:nvSpPr>
            <p:cNvPr id="103" name="Ellipse 102">
              <a:extLst>
                <a:ext uri="{FF2B5EF4-FFF2-40B4-BE49-F238E27FC236}">
                  <a16:creationId xmlns:a16="http://schemas.microsoft.com/office/drawing/2014/main" id="{EE9A47B1-A3A8-8546-9961-9C7A9F0FF4F1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4" name="Ellipse 103">
              <a:extLst>
                <a:ext uri="{FF2B5EF4-FFF2-40B4-BE49-F238E27FC236}">
                  <a16:creationId xmlns:a16="http://schemas.microsoft.com/office/drawing/2014/main" id="{1C1C5FF3-329F-504E-A7F3-6CBE2AE47A6F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05" name="Connecteur droit 104">
              <a:extLst>
                <a:ext uri="{FF2B5EF4-FFF2-40B4-BE49-F238E27FC236}">
                  <a16:creationId xmlns:a16="http://schemas.microsoft.com/office/drawing/2014/main" id="{8534A0FA-4024-654F-B7E4-4BAEF1D97348}"/>
                </a:ext>
              </a:extLst>
            </p:cNvPr>
            <p:cNvCxnSpPr>
              <a:stCxn id="103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necteur droit 105">
              <a:extLst>
                <a:ext uri="{FF2B5EF4-FFF2-40B4-BE49-F238E27FC236}">
                  <a16:creationId xmlns:a16="http://schemas.microsoft.com/office/drawing/2014/main" id="{35AD5405-FD87-4D48-9055-494D651A57BD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necteur droit 106">
              <a:extLst>
                <a:ext uri="{FF2B5EF4-FFF2-40B4-BE49-F238E27FC236}">
                  <a16:creationId xmlns:a16="http://schemas.microsoft.com/office/drawing/2014/main" id="{5FE16958-5596-054E-8072-393F8B60449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necteur droit 107">
              <a:extLst>
                <a:ext uri="{FF2B5EF4-FFF2-40B4-BE49-F238E27FC236}">
                  <a16:creationId xmlns:a16="http://schemas.microsoft.com/office/drawing/2014/main" id="{62085849-E8CB-0F4F-AA3F-D26ABA67E8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oupe 108">
            <a:extLst>
              <a:ext uri="{FF2B5EF4-FFF2-40B4-BE49-F238E27FC236}">
                <a16:creationId xmlns:a16="http://schemas.microsoft.com/office/drawing/2014/main" id="{2C3B8A61-728C-1141-9227-46AB172D3A8E}"/>
              </a:ext>
            </a:extLst>
          </p:cNvPr>
          <p:cNvGrpSpPr/>
          <p:nvPr/>
        </p:nvGrpSpPr>
        <p:grpSpPr>
          <a:xfrm>
            <a:off x="7178690" y="3629670"/>
            <a:ext cx="686107" cy="702343"/>
            <a:chOff x="8987094" y="1322173"/>
            <a:chExt cx="895158" cy="88189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C92F697C-50A9-FF48-8025-50D689E0A1F7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1" name="Ellipse 110">
              <a:extLst>
                <a:ext uri="{FF2B5EF4-FFF2-40B4-BE49-F238E27FC236}">
                  <a16:creationId xmlns:a16="http://schemas.microsoft.com/office/drawing/2014/main" id="{8849EABB-1E89-C84C-B003-73E18317CC70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12" name="Connecteur droit 111">
              <a:extLst>
                <a:ext uri="{FF2B5EF4-FFF2-40B4-BE49-F238E27FC236}">
                  <a16:creationId xmlns:a16="http://schemas.microsoft.com/office/drawing/2014/main" id="{9F7FA0D1-0D98-B84A-9B35-F638F57CDCB7}"/>
                </a:ext>
              </a:extLst>
            </p:cNvPr>
            <p:cNvCxnSpPr>
              <a:stCxn id="110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necteur droit 112">
              <a:extLst>
                <a:ext uri="{FF2B5EF4-FFF2-40B4-BE49-F238E27FC236}">
                  <a16:creationId xmlns:a16="http://schemas.microsoft.com/office/drawing/2014/main" id="{A072B4E8-5220-3A4C-AFCA-BE8A512FB40A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necteur droit 113">
              <a:extLst>
                <a:ext uri="{FF2B5EF4-FFF2-40B4-BE49-F238E27FC236}">
                  <a16:creationId xmlns:a16="http://schemas.microsoft.com/office/drawing/2014/main" id="{20E74858-11C7-6344-9CEF-EE39B825C78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necteur droit 114">
              <a:extLst>
                <a:ext uri="{FF2B5EF4-FFF2-40B4-BE49-F238E27FC236}">
                  <a16:creationId xmlns:a16="http://schemas.microsoft.com/office/drawing/2014/main" id="{E89C9923-269E-044B-AEA9-E56E043F6E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6" name="Groupe 115">
            <a:extLst>
              <a:ext uri="{FF2B5EF4-FFF2-40B4-BE49-F238E27FC236}">
                <a16:creationId xmlns:a16="http://schemas.microsoft.com/office/drawing/2014/main" id="{73616FD9-74CC-C743-B51B-E5127ED9203B}"/>
              </a:ext>
            </a:extLst>
          </p:cNvPr>
          <p:cNvGrpSpPr/>
          <p:nvPr/>
        </p:nvGrpSpPr>
        <p:grpSpPr>
          <a:xfrm>
            <a:off x="7178690" y="4519369"/>
            <a:ext cx="686107" cy="702343"/>
            <a:chOff x="8987094" y="1322173"/>
            <a:chExt cx="895158" cy="881890"/>
          </a:xfrm>
        </p:grpSpPr>
        <p:sp>
          <p:nvSpPr>
            <p:cNvPr id="117" name="Ellipse 116">
              <a:extLst>
                <a:ext uri="{FF2B5EF4-FFF2-40B4-BE49-F238E27FC236}">
                  <a16:creationId xmlns:a16="http://schemas.microsoft.com/office/drawing/2014/main" id="{EB4C1BC0-C2AC-3E41-BB93-B1324E51899C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8" name="Ellipse 117">
              <a:extLst>
                <a:ext uri="{FF2B5EF4-FFF2-40B4-BE49-F238E27FC236}">
                  <a16:creationId xmlns:a16="http://schemas.microsoft.com/office/drawing/2014/main" id="{2C2D5CDF-B2B8-494A-84A8-2668861B2415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19" name="Connecteur droit 118">
              <a:extLst>
                <a:ext uri="{FF2B5EF4-FFF2-40B4-BE49-F238E27FC236}">
                  <a16:creationId xmlns:a16="http://schemas.microsoft.com/office/drawing/2014/main" id="{FB5726C3-B55E-384D-9B7B-CB82D465CCAF}"/>
                </a:ext>
              </a:extLst>
            </p:cNvPr>
            <p:cNvCxnSpPr>
              <a:stCxn id="117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necteur droit 119">
              <a:extLst>
                <a:ext uri="{FF2B5EF4-FFF2-40B4-BE49-F238E27FC236}">
                  <a16:creationId xmlns:a16="http://schemas.microsoft.com/office/drawing/2014/main" id="{6CF1DB2A-F7D5-FC41-AE2F-07A878AD9015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necteur droit 120">
              <a:extLst>
                <a:ext uri="{FF2B5EF4-FFF2-40B4-BE49-F238E27FC236}">
                  <a16:creationId xmlns:a16="http://schemas.microsoft.com/office/drawing/2014/main" id="{CA201873-87A3-3E48-98E2-16D16DF4FA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necteur droit 121">
              <a:extLst>
                <a:ext uri="{FF2B5EF4-FFF2-40B4-BE49-F238E27FC236}">
                  <a16:creationId xmlns:a16="http://schemas.microsoft.com/office/drawing/2014/main" id="{513A32FA-A559-D746-83F4-95B6C8D861D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Groupe 122">
            <a:extLst>
              <a:ext uri="{FF2B5EF4-FFF2-40B4-BE49-F238E27FC236}">
                <a16:creationId xmlns:a16="http://schemas.microsoft.com/office/drawing/2014/main" id="{279B1AD5-36F3-BA4C-A6FA-65B120E22926}"/>
              </a:ext>
            </a:extLst>
          </p:cNvPr>
          <p:cNvGrpSpPr/>
          <p:nvPr/>
        </p:nvGrpSpPr>
        <p:grpSpPr>
          <a:xfrm>
            <a:off x="4969366" y="1900343"/>
            <a:ext cx="686107" cy="702343"/>
            <a:chOff x="8987094" y="1322173"/>
            <a:chExt cx="895158" cy="881890"/>
          </a:xfrm>
        </p:grpSpPr>
        <p:sp>
          <p:nvSpPr>
            <p:cNvPr id="124" name="Ellipse 123">
              <a:extLst>
                <a:ext uri="{FF2B5EF4-FFF2-40B4-BE49-F238E27FC236}">
                  <a16:creationId xmlns:a16="http://schemas.microsoft.com/office/drawing/2014/main" id="{63D24348-2415-374B-BDB7-1D0FE06BD86E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5" name="Ellipse 124">
              <a:extLst>
                <a:ext uri="{FF2B5EF4-FFF2-40B4-BE49-F238E27FC236}">
                  <a16:creationId xmlns:a16="http://schemas.microsoft.com/office/drawing/2014/main" id="{6AA4FADB-4672-ED43-BC02-B5F160B8839F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26" name="Connecteur droit 125">
              <a:extLst>
                <a:ext uri="{FF2B5EF4-FFF2-40B4-BE49-F238E27FC236}">
                  <a16:creationId xmlns:a16="http://schemas.microsoft.com/office/drawing/2014/main" id="{0BAD5380-6BCD-664E-9BDC-186C20034454}"/>
                </a:ext>
              </a:extLst>
            </p:cNvPr>
            <p:cNvCxnSpPr>
              <a:stCxn id="124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Connecteur droit 126">
              <a:extLst>
                <a:ext uri="{FF2B5EF4-FFF2-40B4-BE49-F238E27FC236}">
                  <a16:creationId xmlns:a16="http://schemas.microsoft.com/office/drawing/2014/main" id="{C1D28EBF-7442-F94B-B949-64C5E1D97AD5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Connecteur droit 127">
              <a:extLst>
                <a:ext uri="{FF2B5EF4-FFF2-40B4-BE49-F238E27FC236}">
                  <a16:creationId xmlns:a16="http://schemas.microsoft.com/office/drawing/2014/main" id="{3FB29340-AADC-CF4B-91C5-15C746BF3F6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Connecteur droit 128">
              <a:extLst>
                <a:ext uri="{FF2B5EF4-FFF2-40B4-BE49-F238E27FC236}">
                  <a16:creationId xmlns:a16="http://schemas.microsoft.com/office/drawing/2014/main" id="{FEDBE6AE-8357-684D-87C0-EA9246BE40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0" name="Groupe 129">
            <a:extLst>
              <a:ext uri="{FF2B5EF4-FFF2-40B4-BE49-F238E27FC236}">
                <a16:creationId xmlns:a16="http://schemas.microsoft.com/office/drawing/2014/main" id="{C1549E0C-3831-C947-AC15-CDE59050340D}"/>
              </a:ext>
            </a:extLst>
          </p:cNvPr>
          <p:cNvGrpSpPr/>
          <p:nvPr/>
        </p:nvGrpSpPr>
        <p:grpSpPr>
          <a:xfrm>
            <a:off x="4969365" y="2811116"/>
            <a:ext cx="686107" cy="702343"/>
            <a:chOff x="8987094" y="1322173"/>
            <a:chExt cx="895158" cy="881890"/>
          </a:xfrm>
        </p:grpSpPr>
        <p:sp>
          <p:nvSpPr>
            <p:cNvPr id="131" name="Ellipse 130">
              <a:extLst>
                <a:ext uri="{FF2B5EF4-FFF2-40B4-BE49-F238E27FC236}">
                  <a16:creationId xmlns:a16="http://schemas.microsoft.com/office/drawing/2014/main" id="{D0939E00-9CC4-7642-9A47-62795BE79EA0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2" name="Ellipse 131">
              <a:extLst>
                <a:ext uri="{FF2B5EF4-FFF2-40B4-BE49-F238E27FC236}">
                  <a16:creationId xmlns:a16="http://schemas.microsoft.com/office/drawing/2014/main" id="{923BAFA5-56AA-1345-A931-96CEF1AF40ED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33" name="Connecteur droit 132">
              <a:extLst>
                <a:ext uri="{FF2B5EF4-FFF2-40B4-BE49-F238E27FC236}">
                  <a16:creationId xmlns:a16="http://schemas.microsoft.com/office/drawing/2014/main" id="{7E54B167-C5BD-A745-ABAE-B175D1AB96CE}"/>
                </a:ext>
              </a:extLst>
            </p:cNvPr>
            <p:cNvCxnSpPr>
              <a:stCxn id="131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Connecteur droit 133">
              <a:extLst>
                <a:ext uri="{FF2B5EF4-FFF2-40B4-BE49-F238E27FC236}">
                  <a16:creationId xmlns:a16="http://schemas.microsoft.com/office/drawing/2014/main" id="{F4982AD8-FB43-6F47-861F-F70E8DBBA2C4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necteur droit 134">
              <a:extLst>
                <a:ext uri="{FF2B5EF4-FFF2-40B4-BE49-F238E27FC236}">
                  <a16:creationId xmlns:a16="http://schemas.microsoft.com/office/drawing/2014/main" id="{E3A03292-8F1F-9F47-BFEE-12ABDAE020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Connecteur droit 135">
              <a:extLst>
                <a:ext uri="{FF2B5EF4-FFF2-40B4-BE49-F238E27FC236}">
                  <a16:creationId xmlns:a16="http://schemas.microsoft.com/office/drawing/2014/main" id="{075EB9DE-A3D0-274B-9099-4D12D199F5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Groupe 136">
            <a:extLst>
              <a:ext uri="{FF2B5EF4-FFF2-40B4-BE49-F238E27FC236}">
                <a16:creationId xmlns:a16="http://schemas.microsoft.com/office/drawing/2014/main" id="{01444C89-52F5-DF48-A833-513F07A52529}"/>
              </a:ext>
            </a:extLst>
          </p:cNvPr>
          <p:cNvGrpSpPr/>
          <p:nvPr/>
        </p:nvGrpSpPr>
        <p:grpSpPr>
          <a:xfrm>
            <a:off x="4969039" y="3629670"/>
            <a:ext cx="686107" cy="702343"/>
            <a:chOff x="8987094" y="1322173"/>
            <a:chExt cx="895158" cy="881890"/>
          </a:xfrm>
        </p:grpSpPr>
        <p:sp>
          <p:nvSpPr>
            <p:cNvPr id="138" name="Ellipse 137">
              <a:extLst>
                <a:ext uri="{FF2B5EF4-FFF2-40B4-BE49-F238E27FC236}">
                  <a16:creationId xmlns:a16="http://schemas.microsoft.com/office/drawing/2014/main" id="{25FB677D-950B-FA49-A020-7E807FBB4CEA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9" name="Ellipse 138">
              <a:extLst>
                <a:ext uri="{FF2B5EF4-FFF2-40B4-BE49-F238E27FC236}">
                  <a16:creationId xmlns:a16="http://schemas.microsoft.com/office/drawing/2014/main" id="{8FD62D0D-F106-E041-9A67-EAF66AA7E0CF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40" name="Connecteur droit 139">
              <a:extLst>
                <a:ext uri="{FF2B5EF4-FFF2-40B4-BE49-F238E27FC236}">
                  <a16:creationId xmlns:a16="http://schemas.microsoft.com/office/drawing/2014/main" id="{C51BA798-1DCA-1E41-934E-A6004F15DAF4}"/>
                </a:ext>
              </a:extLst>
            </p:cNvPr>
            <p:cNvCxnSpPr>
              <a:stCxn id="138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necteur droit 140">
              <a:extLst>
                <a:ext uri="{FF2B5EF4-FFF2-40B4-BE49-F238E27FC236}">
                  <a16:creationId xmlns:a16="http://schemas.microsoft.com/office/drawing/2014/main" id="{996C9398-6620-C84A-A2B9-97A620B4D391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Connecteur droit 141">
              <a:extLst>
                <a:ext uri="{FF2B5EF4-FFF2-40B4-BE49-F238E27FC236}">
                  <a16:creationId xmlns:a16="http://schemas.microsoft.com/office/drawing/2014/main" id="{F73471B3-20B4-5D47-9EF9-94E5FDD3EF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Connecteur droit 142">
              <a:extLst>
                <a:ext uri="{FF2B5EF4-FFF2-40B4-BE49-F238E27FC236}">
                  <a16:creationId xmlns:a16="http://schemas.microsoft.com/office/drawing/2014/main" id="{7D8E7500-2828-834F-95DC-BCECD01BE2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" name="Groupe 143">
            <a:extLst>
              <a:ext uri="{FF2B5EF4-FFF2-40B4-BE49-F238E27FC236}">
                <a16:creationId xmlns:a16="http://schemas.microsoft.com/office/drawing/2014/main" id="{FC870401-F554-6649-90BB-0E8759AE451C}"/>
              </a:ext>
            </a:extLst>
          </p:cNvPr>
          <p:cNvGrpSpPr/>
          <p:nvPr/>
        </p:nvGrpSpPr>
        <p:grpSpPr>
          <a:xfrm>
            <a:off x="4969038" y="4529846"/>
            <a:ext cx="686107" cy="702343"/>
            <a:chOff x="8987094" y="1322173"/>
            <a:chExt cx="895158" cy="881890"/>
          </a:xfrm>
        </p:grpSpPr>
        <p:sp>
          <p:nvSpPr>
            <p:cNvPr id="145" name="Ellipse 144">
              <a:extLst>
                <a:ext uri="{FF2B5EF4-FFF2-40B4-BE49-F238E27FC236}">
                  <a16:creationId xmlns:a16="http://schemas.microsoft.com/office/drawing/2014/main" id="{F2A3C8E8-731B-AB4F-8DDA-CD9863345528}"/>
                </a:ext>
              </a:extLst>
            </p:cNvPr>
            <p:cNvSpPr/>
            <p:nvPr/>
          </p:nvSpPr>
          <p:spPr>
            <a:xfrm>
              <a:off x="9132222" y="1469817"/>
              <a:ext cx="604902" cy="5866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46" name="Ellipse 145">
              <a:extLst>
                <a:ext uri="{FF2B5EF4-FFF2-40B4-BE49-F238E27FC236}">
                  <a16:creationId xmlns:a16="http://schemas.microsoft.com/office/drawing/2014/main" id="{C69A2C87-E24B-6A49-95AC-39AFF84ED425}"/>
                </a:ext>
              </a:extLst>
            </p:cNvPr>
            <p:cNvSpPr/>
            <p:nvPr/>
          </p:nvSpPr>
          <p:spPr>
            <a:xfrm>
              <a:off x="9319451" y="1641070"/>
              <a:ext cx="230444" cy="24409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47" name="Connecteur droit 146">
              <a:extLst>
                <a:ext uri="{FF2B5EF4-FFF2-40B4-BE49-F238E27FC236}">
                  <a16:creationId xmlns:a16="http://schemas.microsoft.com/office/drawing/2014/main" id="{1D8D3AE6-287A-3444-BA3D-94F65BC00601}"/>
                </a:ext>
              </a:extLst>
            </p:cNvPr>
            <p:cNvCxnSpPr>
              <a:stCxn id="145" idx="0"/>
            </p:cNvCxnSpPr>
            <p:nvPr/>
          </p:nvCxnSpPr>
          <p:spPr>
            <a:xfrm flipV="1">
              <a:off x="9434673" y="1322173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Connecteur droit 147">
              <a:extLst>
                <a:ext uri="{FF2B5EF4-FFF2-40B4-BE49-F238E27FC236}">
                  <a16:creationId xmlns:a16="http://schemas.microsoft.com/office/drawing/2014/main" id="{AD000CA5-BA50-0A40-86E6-2A14D26CAAED}"/>
                </a:ext>
              </a:extLst>
            </p:cNvPr>
            <p:cNvCxnSpPr/>
            <p:nvPr/>
          </p:nvCxnSpPr>
          <p:spPr>
            <a:xfrm flipV="1">
              <a:off x="9439596" y="2056419"/>
              <a:ext cx="0" cy="147644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Connecteur droit 148">
              <a:extLst>
                <a:ext uri="{FF2B5EF4-FFF2-40B4-BE49-F238E27FC236}">
                  <a16:creationId xmlns:a16="http://schemas.microsoft.com/office/drawing/2014/main" id="{D16E388A-74F8-C144-B29B-F44FCA6D82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3712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Connecteur droit 149">
              <a:extLst>
                <a:ext uri="{FF2B5EF4-FFF2-40B4-BE49-F238E27FC236}">
                  <a16:creationId xmlns:a16="http://schemas.microsoft.com/office/drawing/2014/main" id="{5CC4F446-3308-9547-B95C-C5AF56AF293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87094" y="1757969"/>
              <a:ext cx="14512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7890175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_leDqKSzC029_f8lvI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ZHSf.FSD6HP6Q2qrN7aA"/>
</p:tagLst>
</file>

<file path=ppt/theme/theme1.xml><?xml version="1.0" encoding="utf-8"?>
<a:theme xmlns:a="http://schemas.openxmlformats.org/drawingml/2006/main" name="SOLOCAL">
  <a:themeElements>
    <a:clrScheme name="SOLOCAL-NEW">
      <a:dk1>
        <a:sysClr val="windowText" lastClr="000000"/>
      </a:dk1>
      <a:lt1>
        <a:sysClr val="window" lastClr="FFFFFF"/>
      </a:lt1>
      <a:dk2>
        <a:srgbClr val="828282"/>
      </a:dk2>
      <a:lt2>
        <a:srgbClr val="F0F0F5"/>
      </a:lt2>
      <a:accent1>
        <a:srgbClr val="0078FA"/>
      </a:accent1>
      <a:accent2>
        <a:srgbClr val="501EFF"/>
      </a:accent2>
      <a:accent3>
        <a:srgbClr val="CD05FF"/>
      </a:accent3>
      <a:accent4>
        <a:srgbClr val="FFAF14"/>
      </a:accent4>
      <a:accent5>
        <a:srgbClr val="19D77D"/>
      </a:accent5>
      <a:accent6>
        <a:srgbClr val="D2D2DC"/>
      </a:accent6>
      <a:hlink>
        <a:srgbClr val="000000"/>
      </a:hlink>
      <a:folHlink>
        <a:srgbClr val="000000"/>
      </a:folHlink>
    </a:clrScheme>
    <a:fontScheme name="SOLOCAL-NEW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template PPT [Lecture seule]" id="{DB6696D1-C2D7-4521-8CB3-A1E26CC264A5}" vid="{F88E8200-18BA-436F-8A40-7331AA71E244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04121FE372F74F9D4F601A31820CF2" ma:contentTypeVersion="4" ma:contentTypeDescription="Crée un document." ma:contentTypeScope="" ma:versionID="602ae9b12b3b3ea96ccad368b383f10e">
  <xsd:schema xmlns:xsd="http://www.w3.org/2001/XMLSchema" xmlns:xs="http://www.w3.org/2001/XMLSchema" xmlns:p="http://schemas.microsoft.com/office/2006/metadata/properties" xmlns:ns2="5ee9d13d-f035-4a48-9ead-a3d652c22321" xmlns:ns3="dab89b68-d732-45f8-8699-aaa526bb13a9" targetNamespace="http://schemas.microsoft.com/office/2006/metadata/properties" ma:root="true" ma:fieldsID="05e25eea5f793e5771a9d9a4111ddfb5" ns2:_="" ns3:_="">
    <xsd:import namespace="5ee9d13d-f035-4a48-9ead-a3d652c22321"/>
    <xsd:import namespace="dab89b68-d732-45f8-8699-aaa526bb13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9d13d-f035-4a48-9ead-a3d652c223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b89b68-d732-45f8-8699-aaa526bb13a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158F7EE-BF9C-47E2-BDBE-3ED1AF1810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AAF027B-D206-42E4-83B6-FF7F247F9E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ee9d13d-f035-4a48-9ead-a3d652c22321"/>
    <ds:schemaRef ds:uri="dab89b68-d732-45f8-8699-aaa526bb1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45B7656-E892-44AC-8D98-96A0DA89D1BF}">
  <ds:schemaRefs>
    <ds:schemaRef ds:uri="http://purl.org/dc/elements/1.1/"/>
    <ds:schemaRef ds:uri="http://schemas.microsoft.com/office/infopath/2007/PartnerControls"/>
    <ds:schemaRef ds:uri="http://purl.org/dc/dcmitype/"/>
    <ds:schemaRef ds:uri="http://www.w3.org/XML/1998/namespace"/>
    <ds:schemaRef ds:uri="http://purl.org/dc/terms/"/>
    <ds:schemaRef ds:uri="dab89b68-d732-45f8-8699-aaa526bb13a9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5ee9d13d-f035-4a48-9ead-a3d652c2232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SOLOCAL</Template>
  <TotalTime>3433</TotalTime>
  <Words>595</Words>
  <Application>Microsoft Macintosh PowerPoint</Application>
  <PresentationFormat>Grand écran</PresentationFormat>
  <Paragraphs>119</Paragraphs>
  <Slides>2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28" baseType="lpstr">
      <vt:lpstr>Arial</vt:lpstr>
      <vt:lpstr>Calibri</vt:lpstr>
      <vt:lpstr>DiLo 55 Roman</vt:lpstr>
      <vt:lpstr>Poppins</vt:lpstr>
      <vt:lpstr>Poppins SemiBold</vt:lpstr>
      <vt:lpstr>SOLOCAL</vt:lpstr>
      <vt:lpstr>Diapositive think-cell</vt:lpstr>
      <vt:lpstr>Le Machine Learning et ses métiers</vt:lpstr>
      <vt:lpstr>L’IA et le  Machine Learning</vt:lpstr>
      <vt:lpstr>L’IA</vt:lpstr>
      <vt:lpstr>L’IA</vt:lpstr>
      <vt:lpstr>L’Apprentissage Automatique (Machine Learning)</vt:lpstr>
      <vt:lpstr>L’apprentissage supervisé</vt:lpstr>
      <vt:lpstr>L’apprentissage supervisé</vt:lpstr>
      <vt:lpstr>L’apprentissage supervisé</vt:lpstr>
      <vt:lpstr>L’apprentissage supervisé</vt:lpstr>
      <vt:lpstr>L’apprentissage supervisé</vt:lpstr>
      <vt:lpstr>L’apprentissage supervisé</vt:lpstr>
      <vt:lpstr>L’apprentissage supervisé</vt:lpstr>
      <vt:lpstr>Des exemples de tâches d’apprentissage supervisé</vt:lpstr>
      <vt:lpstr>Les métiers du Machine Learning</vt:lpstr>
      <vt:lpstr>L’axe des métiers du Machine Learning</vt:lpstr>
      <vt:lpstr>L’axe des métiers du Machine Learning</vt:lpstr>
      <vt:lpstr>L’axe des métiers du Machine Learning</vt:lpstr>
      <vt:lpstr>L’axe des métiers du Machine Learning</vt:lpstr>
      <vt:lpstr>L’axe des métiers du Machine Learning</vt:lpstr>
      <vt:lpstr>L’axe des métiers du Machine Learning</vt:lpstr>
      <vt:lpstr>L’axe des métiers du Machine Lear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E NOUVELLE IDENTITE POUR SOLOCAL</dc:title>
  <dc:creator>Guillaume LAPORTE</dc:creator>
  <cp:lastModifiedBy>Robin ALLESIARDO</cp:lastModifiedBy>
  <cp:revision>23</cp:revision>
  <dcterms:created xsi:type="dcterms:W3CDTF">2018-10-26T14:06:42Z</dcterms:created>
  <dcterms:modified xsi:type="dcterms:W3CDTF">2020-12-15T15:4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04121FE372F74F9D4F601A31820CF2</vt:lpwstr>
  </property>
  <property fmtid="{D5CDD505-2E9C-101B-9397-08002B2CF9AE}" pid="3" name="AuthorIds_UIVersion_1024">
    <vt:lpwstr>6</vt:lpwstr>
  </property>
  <property fmtid="{D5CDD505-2E9C-101B-9397-08002B2CF9AE}" pid="4" name="AuthorIds_UIVersion_2048">
    <vt:lpwstr>6</vt:lpwstr>
  </property>
  <property fmtid="{D5CDD505-2E9C-101B-9397-08002B2CF9AE}" pid="5" name="AuthorIds_UIVersion_3072">
    <vt:lpwstr>6</vt:lpwstr>
  </property>
  <property fmtid="{D5CDD505-2E9C-101B-9397-08002B2CF9AE}" pid="6" name="AuthorIds_UIVersion_8704">
    <vt:lpwstr>6</vt:lpwstr>
  </property>
</Properties>
</file>